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1" r:id="rId2"/>
  </p:sldMasterIdLst>
  <p:notesMasterIdLst>
    <p:notesMasterId r:id="rId13"/>
  </p:notesMasterIdLst>
  <p:sldIdLst>
    <p:sldId id="297" r:id="rId3"/>
    <p:sldId id="298" r:id="rId4"/>
    <p:sldId id="257" r:id="rId5"/>
    <p:sldId id="299" r:id="rId6"/>
    <p:sldId id="300" r:id="rId7"/>
    <p:sldId id="269" r:id="rId8"/>
    <p:sldId id="272" r:id="rId9"/>
    <p:sldId id="292" r:id="rId10"/>
    <p:sldId id="296" r:id="rId11"/>
    <p:sldId id="302" r:id="rId12"/>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risnawanugroho" initials="t" lastIdx="13" clrIdx="0">
    <p:extLst>
      <p:ext uri="{19B8F6BF-5375-455C-9EA6-DF929625EA0E}">
        <p15:presenceInfo xmlns:p15="http://schemas.microsoft.com/office/powerpoint/2012/main" userId="trisnawanugroho"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53975"/>
    <a:srgbClr val="DBCBD8"/>
    <a:srgbClr val="1F8492"/>
    <a:srgbClr val="101935"/>
    <a:srgbClr val="564787"/>
    <a:srgbClr val="652D74"/>
    <a:srgbClr val="F2FDFF"/>
    <a:srgbClr val="9AD4D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0307" autoAdjust="0"/>
  </p:normalViewPr>
  <p:slideViewPr>
    <p:cSldViewPr snapToGrid="0">
      <p:cViewPr varScale="1">
        <p:scale>
          <a:sx n="68" d="100"/>
          <a:sy n="68" d="100"/>
        </p:scale>
        <p:origin x="852" y="78"/>
      </p:cViewPr>
      <p:guideLst>
        <p:guide pos="3840"/>
        <p:guide orient="horz" pos="2160"/>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380334-13B4-4816-BC0B-C9543A5DB747}" type="datetimeFigureOut">
              <a:rPr lang="en-US" smtClean="0"/>
              <a:t>6/2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D225FB8-320C-4083-8A3A-856629D1AEA9}" type="slidenum">
              <a:rPr lang="en-US" smtClean="0"/>
              <a:t>‹#›</a:t>
            </a:fld>
            <a:endParaRPr lang="en-US"/>
          </a:p>
        </p:txBody>
      </p:sp>
    </p:spTree>
    <p:extLst>
      <p:ext uri="{BB962C8B-B14F-4D97-AF65-F5344CB8AC3E}">
        <p14:creationId xmlns:p14="http://schemas.microsoft.com/office/powerpoint/2010/main" val="27724305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s by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1</a:t>
            </a:fld>
            <a:endParaRPr lang="en-US"/>
          </a:p>
        </p:txBody>
      </p:sp>
    </p:spTree>
    <p:extLst>
      <p:ext uri="{BB962C8B-B14F-4D97-AF65-F5344CB8AC3E}">
        <p14:creationId xmlns:p14="http://schemas.microsoft.com/office/powerpoint/2010/main" val="36487180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s by </a:t>
            </a:r>
            <a:r>
              <a:rPr lang="en-US" dirty="0" err="1"/>
              <a:t>Evening_tao</a:t>
            </a:r>
            <a:r>
              <a:rPr lang="en-US" dirty="0"/>
              <a:t> /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3</a:t>
            </a:fld>
            <a:endParaRPr lang="en-US"/>
          </a:p>
        </p:txBody>
      </p:sp>
    </p:spTree>
    <p:extLst>
      <p:ext uri="{BB962C8B-B14F-4D97-AF65-F5344CB8AC3E}">
        <p14:creationId xmlns:p14="http://schemas.microsoft.com/office/powerpoint/2010/main" val="28834954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s by rawpixel.com /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4</a:t>
            </a:fld>
            <a:endParaRPr lang="en-US"/>
          </a:p>
        </p:txBody>
      </p:sp>
    </p:spTree>
    <p:extLst>
      <p:ext uri="{BB962C8B-B14F-4D97-AF65-F5344CB8AC3E}">
        <p14:creationId xmlns:p14="http://schemas.microsoft.com/office/powerpoint/2010/main" val="38937875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s by rawpixel.com /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6</a:t>
            </a:fld>
            <a:endParaRPr lang="en-US"/>
          </a:p>
        </p:txBody>
      </p:sp>
    </p:spTree>
    <p:extLst>
      <p:ext uri="{BB962C8B-B14F-4D97-AF65-F5344CB8AC3E}">
        <p14:creationId xmlns:p14="http://schemas.microsoft.com/office/powerpoint/2010/main" val="22064068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s by </a:t>
            </a:r>
            <a:r>
              <a:rPr lang="en-US" dirty="0" err="1"/>
              <a:t>creativeart</a:t>
            </a:r>
            <a:r>
              <a:rPr lang="en-US" dirty="0"/>
              <a:t> / </a:t>
            </a:r>
            <a:r>
              <a:rPr lang="en-US" dirty="0" err="1"/>
              <a:t>Freepik</a:t>
            </a:r>
            <a:endParaRPr lang="en-US" dirty="0"/>
          </a:p>
        </p:txBody>
      </p:sp>
      <p:sp>
        <p:nvSpPr>
          <p:cNvPr id="4" name="Slide Number Placeholder 3"/>
          <p:cNvSpPr>
            <a:spLocks noGrp="1"/>
          </p:cNvSpPr>
          <p:nvPr>
            <p:ph type="sldNum" sz="quarter" idx="5"/>
          </p:nvPr>
        </p:nvSpPr>
        <p:spPr/>
        <p:txBody>
          <a:bodyPr/>
          <a:lstStyle/>
          <a:p>
            <a:fld id="{BD225FB8-320C-4083-8A3A-856629D1AEA9}" type="slidenum">
              <a:rPr lang="en-US" smtClean="0"/>
              <a:t>7</a:t>
            </a:fld>
            <a:endParaRPr lang="en-US"/>
          </a:p>
        </p:txBody>
      </p:sp>
    </p:spTree>
    <p:extLst>
      <p:ext uri="{BB962C8B-B14F-4D97-AF65-F5344CB8AC3E}">
        <p14:creationId xmlns:p14="http://schemas.microsoft.com/office/powerpoint/2010/main" val="39203366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FC1A2541-C66C-4680-968E-4CFD21EFF52D}"/>
              </a:ext>
            </a:extLst>
          </p:cNvPr>
          <p:cNvGraphicFramePr>
            <a:graphicFrameLocks noChangeAspect="1"/>
          </p:cNvGraphicFramePr>
          <p:nvPr userDrawn="1">
            <p:custDataLst>
              <p:tags r:id="rId2"/>
            </p:custDataLst>
            <p:extLst>
              <p:ext uri="{D42A27DB-BD31-4B8C-83A1-F6EECF244321}">
                <p14:modId xmlns:p14="http://schemas.microsoft.com/office/powerpoint/2010/main" val="2670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1"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 xmlns:a16="http://schemas.microsoft.com/office/drawing/2014/main" id="{DCC127CB-45BF-4D09-B501-F4C759F6445D}"/>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6000" b="1" i="0" baseline="0" dirty="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 xmlns:a16="http://schemas.microsoft.com/office/drawing/2014/main" id="{CC5F3DBF-45AF-4497-B142-6B38DF4B36B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 xmlns:a16="http://schemas.microsoft.com/office/drawing/2014/main" id="{738DDFBC-1843-4C12-9D5E-451430B7161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 xmlns:a16="http://schemas.microsoft.com/office/drawing/2014/main" id="{50ADFB6B-EF4D-40B0-B7EB-BB5B7BCA65D9}"/>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 xmlns:a16="http://schemas.microsoft.com/office/drawing/2014/main" id="{4F285D75-D480-429C-B8A5-568CD5D6CEE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 xmlns:a16="http://schemas.microsoft.com/office/drawing/2014/main" id="{51BA913B-0C70-402E-BF80-D38C98E022EB}"/>
              </a:ext>
            </a:extLst>
          </p:cNvPr>
          <p:cNvSpPr>
            <a:spLocks noGrp="1"/>
          </p:cNvSpPr>
          <p:nvPr>
            <p:ph type="sldNum" sz="quarter" idx="12"/>
          </p:nvPr>
        </p:nvSpPr>
        <p:spPr>
          <a:xfrm>
            <a:off x="8610600" y="6356350"/>
            <a:ext cx="2743200" cy="365125"/>
          </a:xfrm>
          <a:prstGeom prst="rect">
            <a:avLst/>
          </a:prstGeom>
        </p:spPr>
        <p:txBody>
          <a:bodyPr/>
          <a:lstStyle/>
          <a:p>
            <a:fld id="{B84D2E29-67F4-44D8-B0E3-F54815B4F123}" type="slidenum">
              <a:rPr lang="en-US" smtClean="0"/>
              <a:t>‹#›</a:t>
            </a:fld>
            <a:endParaRPr lang="en-US"/>
          </a:p>
        </p:txBody>
      </p:sp>
    </p:spTree>
    <p:extLst>
      <p:ext uri="{BB962C8B-B14F-4D97-AF65-F5344CB8AC3E}">
        <p14:creationId xmlns:p14="http://schemas.microsoft.com/office/powerpoint/2010/main" val="16955724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AEF0440-6787-4FB6-91F7-986D630D3F1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 xmlns:a16="http://schemas.microsoft.com/office/drawing/2014/main" id="{A239B314-C197-4CF7-8C4A-A0F666AFC36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 xmlns:a16="http://schemas.microsoft.com/office/drawing/2014/main" id="{15E3161F-7401-4CE3-88F9-E3B43A17F62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E74AEB55-2516-4D24-ABCE-0E2FBF67C2CC}"/>
              </a:ext>
            </a:extLst>
          </p:cNvPr>
          <p:cNvSpPr>
            <a:spLocks noGrp="1"/>
          </p:cNvSpPr>
          <p:nvPr>
            <p:ph type="dt" sz="half" idx="10"/>
          </p:nvPr>
        </p:nvSpPr>
        <p:spPr/>
        <p:txBody>
          <a:bodyPr/>
          <a:lstStyle/>
          <a:p>
            <a:fld id="{146EDD2E-AF6E-47DC-890C-D2B624409947}" type="datetimeFigureOut">
              <a:rPr lang="en-US" smtClean="0"/>
              <a:t>6/28/2022</a:t>
            </a:fld>
            <a:endParaRPr lang="en-US"/>
          </a:p>
        </p:txBody>
      </p:sp>
      <p:sp>
        <p:nvSpPr>
          <p:cNvPr id="6" name="Footer Placeholder 5">
            <a:extLst>
              <a:ext uri="{FF2B5EF4-FFF2-40B4-BE49-F238E27FC236}">
                <a16:creationId xmlns="" xmlns:a16="http://schemas.microsoft.com/office/drawing/2014/main" id="{A7D310D6-21B6-45B8-9A1B-D0108DB6D76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 xmlns:a16="http://schemas.microsoft.com/office/drawing/2014/main" id="{69F3178B-92CA-4AA6-8394-8DD1D5C0438E}"/>
              </a:ext>
            </a:extLst>
          </p:cNvPr>
          <p:cNvSpPr>
            <a:spLocks noGrp="1"/>
          </p:cNvSpPr>
          <p:nvPr>
            <p:ph type="sldNum" sz="quarter" idx="12"/>
          </p:nvPr>
        </p:nvSpPr>
        <p:spPr/>
        <p:txBody>
          <a:bodyPr/>
          <a:lstStyle/>
          <a:p>
            <a:fld id="{2ACD9215-59B7-401D-9643-4AE8D59C090B}" type="slidenum">
              <a:rPr lang="en-US" smtClean="0"/>
              <a:t>‹#›</a:t>
            </a:fld>
            <a:endParaRPr lang="en-US"/>
          </a:p>
        </p:txBody>
      </p:sp>
    </p:spTree>
    <p:extLst>
      <p:ext uri="{BB962C8B-B14F-4D97-AF65-F5344CB8AC3E}">
        <p14:creationId xmlns:p14="http://schemas.microsoft.com/office/powerpoint/2010/main" val="16971987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17B9822-D706-4383-BB13-021207C1A7A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 xmlns:a16="http://schemas.microsoft.com/office/drawing/2014/main" id="{DF99D451-7321-4604-BAAE-CEB91BAD12E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 xmlns:a16="http://schemas.microsoft.com/office/drawing/2014/main" id="{AA96B4F2-80BF-4C4F-8EB8-B3AF48321EE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53EFBFA1-C918-4257-967E-A04CD65152B2}"/>
              </a:ext>
            </a:extLst>
          </p:cNvPr>
          <p:cNvSpPr>
            <a:spLocks noGrp="1"/>
          </p:cNvSpPr>
          <p:nvPr>
            <p:ph type="dt" sz="half" idx="10"/>
          </p:nvPr>
        </p:nvSpPr>
        <p:spPr/>
        <p:txBody>
          <a:bodyPr/>
          <a:lstStyle/>
          <a:p>
            <a:fld id="{146EDD2E-AF6E-47DC-890C-D2B624409947}" type="datetimeFigureOut">
              <a:rPr lang="en-US" smtClean="0"/>
              <a:t>6/28/2022</a:t>
            </a:fld>
            <a:endParaRPr lang="en-US"/>
          </a:p>
        </p:txBody>
      </p:sp>
      <p:sp>
        <p:nvSpPr>
          <p:cNvPr id="6" name="Footer Placeholder 5">
            <a:extLst>
              <a:ext uri="{FF2B5EF4-FFF2-40B4-BE49-F238E27FC236}">
                <a16:creationId xmlns="" xmlns:a16="http://schemas.microsoft.com/office/drawing/2014/main" id="{9EBE88E6-9E52-4051-9CE3-1DA07A89B5E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 xmlns:a16="http://schemas.microsoft.com/office/drawing/2014/main" id="{DF313B7B-53A7-4AC0-A7C3-15B16B8E22AC}"/>
              </a:ext>
            </a:extLst>
          </p:cNvPr>
          <p:cNvSpPr>
            <a:spLocks noGrp="1"/>
          </p:cNvSpPr>
          <p:nvPr>
            <p:ph type="sldNum" sz="quarter" idx="12"/>
          </p:nvPr>
        </p:nvSpPr>
        <p:spPr/>
        <p:txBody>
          <a:bodyPr/>
          <a:lstStyle/>
          <a:p>
            <a:fld id="{2ACD9215-59B7-401D-9643-4AE8D59C090B}" type="slidenum">
              <a:rPr lang="en-US" smtClean="0"/>
              <a:t>‹#›</a:t>
            </a:fld>
            <a:endParaRPr lang="en-US"/>
          </a:p>
        </p:txBody>
      </p:sp>
    </p:spTree>
    <p:extLst>
      <p:ext uri="{BB962C8B-B14F-4D97-AF65-F5344CB8AC3E}">
        <p14:creationId xmlns:p14="http://schemas.microsoft.com/office/powerpoint/2010/main" val="20652063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40C09CB-98DD-4E7D-83F9-6744ECC64A9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 xmlns:a16="http://schemas.microsoft.com/office/drawing/2014/main" id="{44E4A381-4D6F-4282-8C0E-E67E02AAB90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2DF1B113-783F-424C-AF4F-82E169EF1F7F}"/>
              </a:ext>
            </a:extLst>
          </p:cNvPr>
          <p:cNvSpPr>
            <a:spLocks noGrp="1"/>
          </p:cNvSpPr>
          <p:nvPr>
            <p:ph type="dt" sz="half" idx="10"/>
          </p:nvPr>
        </p:nvSpPr>
        <p:spPr/>
        <p:txBody>
          <a:bodyPr/>
          <a:lstStyle/>
          <a:p>
            <a:fld id="{146EDD2E-AF6E-47DC-890C-D2B624409947}" type="datetimeFigureOut">
              <a:rPr lang="en-US" smtClean="0"/>
              <a:t>6/28/2022</a:t>
            </a:fld>
            <a:endParaRPr lang="en-US"/>
          </a:p>
        </p:txBody>
      </p:sp>
      <p:sp>
        <p:nvSpPr>
          <p:cNvPr id="5" name="Footer Placeholder 4">
            <a:extLst>
              <a:ext uri="{FF2B5EF4-FFF2-40B4-BE49-F238E27FC236}">
                <a16:creationId xmlns="" xmlns:a16="http://schemas.microsoft.com/office/drawing/2014/main" id="{4DFC3965-B169-42D5-83F5-7930B151A0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6F0C933D-B0F7-4630-B315-83071450CADD}"/>
              </a:ext>
            </a:extLst>
          </p:cNvPr>
          <p:cNvSpPr>
            <a:spLocks noGrp="1"/>
          </p:cNvSpPr>
          <p:nvPr>
            <p:ph type="sldNum" sz="quarter" idx="12"/>
          </p:nvPr>
        </p:nvSpPr>
        <p:spPr/>
        <p:txBody>
          <a:bodyPr/>
          <a:lstStyle/>
          <a:p>
            <a:fld id="{2ACD9215-59B7-401D-9643-4AE8D59C090B}" type="slidenum">
              <a:rPr lang="en-US" smtClean="0"/>
              <a:t>‹#›</a:t>
            </a:fld>
            <a:endParaRPr lang="en-US"/>
          </a:p>
        </p:txBody>
      </p:sp>
    </p:spTree>
    <p:extLst>
      <p:ext uri="{BB962C8B-B14F-4D97-AF65-F5344CB8AC3E}">
        <p14:creationId xmlns:p14="http://schemas.microsoft.com/office/powerpoint/2010/main" val="18710583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67A59D32-1BCB-4D1B-BF59-A9E5F6E7302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 xmlns:a16="http://schemas.microsoft.com/office/drawing/2014/main" id="{2EB08353-DE13-47C1-9FB2-6E20CFA5603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14AA202E-CC82-4338-A1CB-AD8F7FDFD3FC}"/>
              </a:ext>
            </a:extLst>
          </p:cNvPr>
          <p:cNvSpPr>
            <a:spLocks noGrp="1"/>
          </p:cNvSpPr>
          <p:nvPr>
            <p:ph type="dt" sz="half" idx="10"/>
          </p:nvPr>
        </p:nvSpPr>
        <p:spPr/>
        <p:txBody>
          <a:bodyPr/>
          <a:lstStyle/>
          <a:p>
            <a:fld id="{146EDD2E-AF6E-47DC-890C-D2B624409947}" type="datetimeFigureOut">
              <a:rPr lang="en-US" smtClean="0"/>
              <a:t>6/28/2022</a:t>
            </a:fld>
            <a:endParaRPr lang="en-US"/>
          </a:p>
        </p:txBody>
      </p:sp>
      <p:sp>
        <p:nvSpPr>
          <p:cNvPr id="5" name="Footer Placeholder 4">
            <a:extLst>
              <a:ext uri="{FF2B5EF4-FFF2-40B4-BE49-F238E27FC236}">
                <a16:creationId xmlns="" xmlns:a16="http://schemas.microsoft.com/office/drawing/2014/main" id="{6601F3E0-F87C-43F3-AA7B-EF8D99CB14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E1129CA5-0E42-4851-8F2B-516ECC90CDF3}"/>
              </a:ext>
            </a:extLst>
          </p:cNvPr>
          <p:cNvSpPr>
            <a:spLocks noGrp="1"/>
          </p:cNvSpPr>
          <p:nvPr>
            <p:ph type="sldNum" sz="quarter" idx="12"/>
          </p:nvPr>
        </p:nvSpPr>
        <p:spPr/>
        <p:txBody>
          <a:bodyPr/>
          <a:lstStyle/>
          <a:p>
            <a:fld id="{2ACD9215-59B7-401D-9643-4AE8D59C090B}" type="slidenum">
              <a:rPr lang="en-US" smtClean="0"/>
              <a:t>‹#›</a:t>
            </a:fld>
            <a:endParaRPr lang="en-US"/>
          </a:p>
        </p:txBody>
      </p:sp>
    </p:spTree>
    <p:extLst>
      <p:ext uri="{BB962C8B-B14F-4D97-AF65-F5344CB8AC3E}">
        <p14:creationId xmlns:p14="http://schemas.microsoft.com/office/powerpoint/2010/main" val="28020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 xmlns:a16="http://schemas.microsoft.com/office/drawing/2014/main" id="{B6437C02-0FE9-4694-A7B5-DAA2E7F92826}"/>
              </a:ext>
            </a:extLst>
          </p:cNvPr>
          <p:cNvSpPr>
            <a:spLocks noGrp="1"/>
          </p:cNvSpPr>
          <p:nvPr>
            <p:ph type="dt" sz="half" idx="10"/>
          </p:nvPr>
        </p:nvSpPr>
        <p:spPr/>
        <p:txBody>
          <a:bodyPr/>
          <a:lstStyle/>
          <a:p>
            <a:fld id="{93E9C760-6439-437F-BBB1-C3856724A8A8}" type="datetime1">
              <a:rPr lang="en-US" smtClean="0"/>
              <a:t>6/28/2022</a:t>
            </a:fld>
            <a:endParaRPr lang="en-US"/>
          </a:p>
        </p:txBody>
      </p:sp>
      <p:sp>
        <p:nvSpPr>
          <p:cNvPr id="5" name="Footer Placeholder 4">
            <a:extLst>
              <a:ext uri="{FF2B5EF4-FFF2-40B4-BE49-F238E27FC236}">
                <a16:creationId xmlns="" xmlns:a16="http://schemas.microsoft.com/office/drawing/2014/main" id="{B6259E44-CD78-4CC7-8AA4-C4FF8D3688F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1953EE96-960C-45FC-BB52-209ED2441814}"/>
              </a:ext>
            </a:extLst>
          </p:cNvPr>
          <p:cNvSpPr>
            <a:spLocks noGrp="1"/>
          </p:cNvSpPr>
          <p:nvPr>
            <p:ph type="sldNum" sz="quarter" idx="12"/>
          </p:nvPr>
        </p:nvSpPr>
        <p:spPr/>
        <p:txBody>
          <a:bodyPr/>
          <a:lstStyle/>
          <a:p>
            <a:fld id="{313DEBBE-1EFA-4D2E-88F5-083B206EF4A4}" type="slidenum">
              <a:rPr lang="en-US" smtClean="0"/>
              <a:t>‹#›</a:t>
            </a:fld>
            <a:endParaRPr lang="en-US"/>
          </a:p>
        </p:txBody>
      </p:sp>
    </p:spTree>
    <p:extLst>
      <p:ext uri="{BB962C8B-B14F-4D97-AF65-F5344CB8AC3E}">
        <p14:creationId xmlns:p14="http://schemas.microsoft.com/office/powerpoint/2010/main" val="1751411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Rectangle: Single Corner Rounded 3">
            <a:extLst>
              <a:ext uri="{FF2B5EF4-FFF2-40B4-BE49-F238E27FC236}">
                <a16:creationId xmlns="" xmlns:a16="http://schemas.microsoft.com/office/drawing/2014/main" id="{1A405EED-F690-4A11-92A7-2981DA55D4FE}"/>
              </a:ext>
            </a:extLst>
          </p:cNvPr>
          <p:cNvSpPr/>
          <p:nvPr userDrawn="1"/>
        </p:nvSpPr>
        <p:spPr>
          <a:xfrm flipH="1">
            <a:off x="11492632" y="6158632"/>
            <a:ext cx="699368" cy="699368"/>
          </a:xfrm>
          <a:prstGeom prst="round1Rect">
            <a:avLst>
              <a:gd name="adj" fmla="val 31194"/>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a:extLst>
              <a:ext uri="{FF2B5EF4-FFF2-40B4-BE49-F238E27FC236}">
                <a16:creationId xmlns="" xmlns:a16="http://schemas.microsoft.com/office/drawing/2014/main" id="{DBA2064D-F3C3-4247-BB0E-3A8B9A2204D7}"/>
              </a:ext>
            </a:extLst>
          </p:cNvPr>
          <p:cNvGraphicFramePr>
            <a:graphicFrameLocks noChangeAspect="1"/>
          </p:cNvGraphicFramePr>
          <p:nvPr userDrawn="1">
            <p:custDataLst>
              <p:tags r:id="rId2"/>
            </p:custDataLst>
            <p:extLst>
              <p:ext uri="{D42A27DB-BD31-4B8C-83A1-F6EECF244321}">
                <p14:modId xmlns:p14="http://schemas.microsoft.com/office/powerpoint/2010/main" val="1257603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08"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 xmlns:a16="http://schemas.microsoft.com/office/drawing/2014/main" id="{F16F16FD-2C53-403B-BF33-81984B8570A7}"/>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600" b="1" i="0" baseline="0" dirty="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 xmlns:a16="http://schemas.microsoft.com/office/drawing/2014/main" id="{7634B0F8-76FB-42F2-8E67-4517D27F0A9D}"/>
              </a:ext>
            </a:extLst>
          </p:cNvPr>
          <p:cNvSpPr>
            <a:spLocks noGrp="1"/>
          </p:cNvSpPr>
          <p:nvPr>
            <p:ph type="title"/>
          </p:nvPr>
        </p:nvSpPr>
        <p:spPr>
          <a:xfrm>
            <a:off x="609600" y="365126"/>
            <a:ext cx="10972800" cy="775612"/>
          </a:xfrm>
        </p:spPr>
        <p:txBody>
          <a:bodyPr lIns="0" tIns="0" rIns="0" bIns="0" anchor="ctr"/>
          <a:lstStyle/>
          <a:p>
            <a:r>
              <a:rPr lang="en-US"/>
              <a:t>Click to edit Master title style</a:t>
            </a:r>
          </a:p>
        </p:txBody>
      </p:sp>
      <p:sp>
        <p:nvSpPr>
          <p:cNvPr id="3" name="Content Placeholder 2">
            <a:extLst>
              <a:ext uri="{FF2B5EF4-FFF2-40B4-BE49-F238E27FC236}">
                <a16:creationId xmlns="" xmlns:a16="http://schemas.microsoft.com/office/drawing/2014/main" id="{9B9F3021-AB9D-4B2B-987A-B25B40257112}"/>
              </a:ext>
            </a:extLst>
          </p:cNvPr>
          <p:cNvSpPr>
            <a:spLocks noGrp="1"/>
          </p:cNvSpPr>
          <p:nvPr>
            <p:ph idx="1"/>
          </p:nvPr>
        </p:nvSpPr>
        <p:spPr>
          <a:xfrm>
            <a:off x="609600" y="1330859"/>
            <a:ext cx="10972800" cy="484610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 xmlns:a16="http://schemas.microsoft.com/office/drawing/2014/main" id="{BF14A7C7-1984-4854-9D29-7402A14F46DF}"/>
              </a:ext>
            </a:extLst>
          </p:cNvPr>
          <p:cNvSpPr>
            <a:spLocks noGrp="1"/>
          </p:cNvSpPr>
          <p:nvPr>
            <p:ph type="sldNum" sz="quarter" idx="4"/>
          </p:nvPr>
        </p:nvSpPr>
        <p:spPr>
          <a:xfrm>
            <a:off x="11658612" y="6369817"/>
            <a:ext cx="367408" cy="276999"/>
          </a:xfrm>
          <a:prstGeom prst="rect">
            <a:avLst/>
          </a:prstGeom>
        </p:spPr>
        <p:txBody>
          <a:bodyPr wrap="none" anchor="ctr">
            <a:spAutoFit/>
          </a:bodyPr>
          <a:lstStyle>
            <a:lvl1pPr algn="ctr">
              <a:defRPr sz="1200">
                <a:solidFill>
                  <a:schemeClr val="bg1"/>
                </a:solidFill>
              </a:defRPr>
            </a:lvl1pPr>
          </a:lstStyle>
          <a:p>
            <a:fld id="{B84D2E29-67F4-44D8-B0E3-F54815B4F123}" type="slidenum">
              <a:rPr lang="en-US" smtClean="0"/>
              <a:pPr/>
              <a:t>‹#›</a:t>
            </a:fld>
            <a:endParaRPr lang="en-US" dirty="0"/>
          </a:p>
        </p:txBody>
      </p:sp>
    </p:spTree>
    <p:extLst>
      <p:ext uri="{BB962C8B-B14F-4D97-AF65-F5344CB8AC3E}">
        <p14:creationId xmlns:p14="http://schemas.microsoft.com/office/powerpoint/2010/main" val="439993749"/>
      </p:ext>
    </p:extLst>
  </p:cSld>
  <p:clrMapOvr>
    <a:masterClrMapping/>
  </p:clrMapOvr>
  <p:extLst>
    <p:ext uri="{DCECCB84-F9BA-43D5-87BE-67443E8EF086}">
      <p15:sldGuideLst xmlns:p15="http://schemas.microsoft.com/office/powerpoint/2012/main">
        <p15:guide id="1" orient="horz" pos="840" userDrawn="1">
          <p15:clr>
            <a:srgbClr val="FBAE40"/>
          </p15:clr>
        </p15:guide>
        <p15:guide id="2" pos="7296" userDrawn="1">
          <p15:clr>
            <a:srgbClr val="FBAE40"/>
          </p15:clr>
        </p15:guide>
        <p15:guide id="3" pos="384"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19D4652-E0A2-44BC-BF9A-3AC39F9A1CE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 xmlns:a16="http://schemas.microsoft.com/office/drawing/2014/main" id="{AD8890D1-0EF5-4789-AAD1-8F8FB965C23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 xmlns:a16="http://schemas.microsoft.com/office/drawing/2014/main" id="{D0042A68-EB8D-4FB4-A44E-3FD7C2895AB5}"/>
              </a:ext>
            </a:extLst>
          </p:cNvPr>
          <p:cNvSpPr>
            <a:spLocks noGrp="1"/>
          </p:cNvSpPr>
          <p:nvPr>
            <p:ph type="dt" sz="half" idx="10"/>
          </p:nvPr>
        </p:nvSpPr>
        <p:spPr/>
        <p:txBody>
          <a:bodyPr/>
          <a:lstStyle/>
          <a:p>
            <a:fld id="{146EDD2E-AF6E-47DC-890C-D2B624409947}" type="datetimeFigureOut">
              <a:rPr lang="en-US" smtClean="0"/>
              <a:t>6/28/2022</a:t>
            </a:fld>
            <a:endParaRPr lang="en-US"/>
          </a:p>
        </p:txBody>
      </p:sp>
      <p:sp>
        <p:nvSpPr>
          <p:cNvPr id="5" name="Footer Placeholder 4">
            <a:extLst>
              <a:ext uri="{FF2B5EF4-FFF2-40B4-BE49-F238E27FC236}">
                <a16:creationId xmlns="" xmlns:a16="http://schemas.microsoft.com/office/drawing/2014/main" id="{CEBBD10A-2920-4089-BF61-A23EF5094D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A3AABF26-6AEA-453A-A056-8451183932C7}"/>
              </a:ext>
            </a:extLst>
          </p:cNvPr>
          <p:cNvSpPr>
            <a:spLocks noGrp="1"/>
          </p:cNvSpPr>
          <p:nvPr>
            <p:ph type="sldNum" sz="quarter" idx="12"/>
          </p:nvPr>
        </p:nvSpPr>
        <p:spPr/>
        <p:txBody>
          <a:bodyPr/>
          <a:lstStyle/>
          <a:p>
            <a:fld id="{2ACD9215-59B7-401D-9643-4AE8D59C090B}" type="slidenum">
              <a:rPr lang="en-US" smtClean="0"/>
              <a:t>‹#›</a:t>
            </a:fld>
            <a:endParaRPr lang="en-US"/>
          </a:p>
        </p:txBody>
      </p:sp>
    </p:spTree>
    <p:extLst>
      <p:ext uri="{BB962C8B-B14F-4D97-AF65-F5344CB8AC3E}">
        <p14:creationId xmlns:p14="http://schemas.microsoft.com/office/powerpoint/2010/main" val="7160946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B012667-43FF-46C8-9605-F3BED234B24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5C9E5B60-E138-47DA-9BBD-6FBE16FAFF8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AD045B90-619E-45A4-AB42-B3C0B0C4374D}"/>
              </a:ext>
            </a:extLst>
          </p:cNvPr>
          <p:cNvSpPr>
            <a:spLocks noGrp="1"/>
          </p:cNvSpPr>
          <p:nvPr>
            <p:ph type="dt" sz="half" idx="10"/>
          </p:nvPr>
        </p:nvSpPr>
        <p:spPr/>
        <p:txBody>
          <a:bodyPr/>
          <a:lstStyle/>
          <a:p>
            <a:fld id="{146EDD2E-AF6E-47DC-890C-D2B624409947}" type="datetimeFigureOut">
              <a:rPr lang="en-US" smtClean="0"/>
              <a:t>6/28/2022</a:t>
            </a:fld>
            <a:endParaRPr lang="en-US"/>
          </a:p>
        </p:txBody>
      </p:sp>
      <p:sp>
        <p:nvSpPr>
          <p:cNvPr id="5" name="Footer Placeholder 4">
            <a:extLst>
              <a:ext uri="{FF2B5EF4-FFF2-40B4-BE49-F238E27FC236}">
                <a16:creationId xmlns="" xmlns:a16="http://schemas.microsoft.com/office/drawing/2014/main" id="{052FFCE8-CBFE-4A78-BFF5-74BACB31EE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31A30F96-7539-4EF3-9D1B-DD8EF18C4D7C}"/>
              </a:ext>
            </a:extLst>
          </p:cNvPr>
          <p:cNvSpPr>
            <a:spLocks noGrp="1"/>
          </p:cNvSpPr>
          <p:nvPr>
            <p:ph type="sldNum" sz="quarter" idx="12"/>
          </p:nvPr>
        </p:nvSpPr>
        <p:spPr/>
        <p:txBody>
          <a:bodyPr/>
          <a:lstStyle/>
          <a:p>
            <a:fld id="{2ACD9215-59B7-401D-9643-4AE8D59C090B}" type="slidenum">
              <a:rPr lang="en-US" smtClean="0"/>
              <a:t>‹#›</a:t>
            </a:fld>
            <a:endParaRPr lang="en-US"/>
          </a:p>
        </p:txBody>
      </p:sp>
    </p:spTree>
    <p:extLst>
      <p:ext uri="{BB962C8B-B14F-4D97-AF65-F5344CB8AC3E}">
        <p14:creationId xmlns:p14="http://schemas.microsoft.com/office/powerpoint/2010/main" val="3006309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D231C7A-110F-4A9D-9E78-AD6830858F4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 xmlns:a16="http://schemas.microsoft.com/office/drawing/2014/main" id="{A0E32DC7-EA53-4A5C-942B-1F8B3F0C4EB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 xmlns:a16="http://schemas.microsoft.com/office/drawing/2014/main" id="{370C813E-00DC-4FB6-A287-7950B24E6911}"/>
              </a:ext>
            </a:extLst>
          </p:cNvPr>
          <p:cNvSpPr>
            <a:spLocks noGrp="1"/>
          </p:cNvSpPr>
          <p:nvPr>
            <p:ph type="dt" sz="half" idx="10"/>
          </p:nvPr>
        </p:nvSpPr>
        <p:spPr/>
        <p:txBody>
          <a:bodyPr/>
          <a:lstStyle/>
          <a:p>
            <a:fld id="{146EDD2E-AF6E-47DC-890C-D2B624409947}" type="datetimeFigureOut">
              <a:rPr lang="en-US" smtClean="0"/>
              <a:t>6/28/2022</a:t>
            </a:fld>
            <a:endParaRPr lang="en-US"/>
          </a:p>
        </p:txBody>
      </p:sp>
      <p:sp>
        <p:nvSpPr>
          <p:cNvPr id="5" name="Footer Placeholder 4">
            <a:extLst>
              <a:ext uri="{FF2B5EF4-FFF2-40B4-BE49-F238E27FC236}">
                <a16:creationId xmlns="" xmlns:a16="http://schemas.microsoft.com/office/drawing/2014/main" id="{A7D92E5C-C823-4AD8-BCE3-1065E48B98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A1444E0E-99B1-4711-AF34-A53410BD4298}"/>
              </a:ext>
            </a:extLst>
          </p:cNvPr>
          <p:cNvSpPr>
            <a:spLocks noGrp="1"/>
          </p:cNvSpPr>
          <p:nvPr>
            <p:ph type="sldNum" sz="quarter" idx="12"/>
          </p:nvPr>
        </p:nvSpPr>
        <p:spPr/>
        <p:txBody>
          <a:bodyPr/>
          <a:lstStyle/>
          <a:p>
            <a:fld id="{2ACD9215-59B7-401D-9643-4AE8D59C090B}" type="slidenum">
              <a:rPr lang="en-US" smtClean="0"/>
              <a:t>‹#›</a:t>
            </a:fld>
            <a:endParaRPr lang="en-US"/>
          </a:p>
        </p:txBody>
      </p:sp>
    </p:spTree>
    <p:extLst>
      <p:ext uri="{BB962C8B-B14F-4D97-AF65-F5344CB8AC3E}">
        <p14:creationId xmlns:p14="http://schemas.microsoft.com/office/powerpoint/2010/main" val="25255705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EE5BBBF-15D1-49FC-A511-5FE885337C2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A372538C-DA3A-4F7B-AD90-F14653C101C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 xmlns:a16="http://schemas.microsoft.com/office/drawing/2014/main" id="{9E3B34B8-A26A-45A5-BC1E-EF02CF0E0E5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 xmlns:a16="http://schemas.microsoft.com/office/drawing/2014/main" id="{883B0635-B989-4442-9203-22A862CCA43F}"/>
              </a:ext>
            </a:extLst>
          </p:cNvPr>
          <p:cNvSpPr>
            <a:spLocks noGrp="1"/>
          </p:cNvSpPr>
          <p:nvPr>
            <p:ph type="dt" sz="half" idx="10"/>
          </p:nvPr>
        </p:nvSpPr>
        <p:spPr/>
        <p:txBody>
          <a:bodyPr/>
          <a:lstStyle/>
          <a:p>
            <a:fld id="{146EDD2E-AF6E-47DC-890C-D2B624409947}" type="datetimeFigureOut">
              <a:rPr lang="en-US" smtClean="0"/>
              <a:t>6/28/2022</a:t>
            </a:fld>
            <a:endParaRPr lang="en-US"/>
          </a:p>
        </p:txBody>
      </p:sp>
      <p:sp>
        <p:nvSpPr>
          <p:cNvPr id="6" name="Footer Placeholder 5">
            <a:extLst>
              <a:ext uri="{FF2B5EF4-FFF2-40B4-BE49-F238E27FC236}">
                <a16:creationId xmlns="" xmlns:a16="http://schemas.microsoft.com/office/drawing/2014/main" id="{6F32666F-5499-4BE1-9599-4930B6D149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 xmlns:a16="http://schemas.microsoft.com/office/drawing/2014/main" id="{0BBEC7BD-7D57-44F9-BDEF-4F38DA506044}"/>
              </a:ext>
            </a:extLst>
          </p:cNvPr>
          <p:cNvSpPr>
            <a:spLocks noGrp="1"/>
          </p:cNvSpPr>
          <p:nvPr>
            <p:ph type="sldNum" sz="quarter" idx="12"/>
          </p:nvPr>
        </p:nvSpPr>
        <p:spPr/>
        <p:txBody>
          <a:bodyPr/>
          <a:lstStyle/>
          <a:p>
            <a:fld id="{2ACD9215-59B7-401D-9643-4AE8D59C090B}" type="slidenum">
              <a:rPr lang="en-US" smtClean="0"/>
              <a:t>‹#›</a:t>
            </a:fld>
            <a:endParaRPr lang="en-US"/>
          </a:p>
        </p:txBody>
      </p:sp>
    </p:spTree>
    <p:extLst>
      <p:ext uri="{BB962C8B-B14F-4D97-AF65-F5344CB8AC3E}">
        <p14:creationId xmlns:p14="http://schemas.microsoft.com/office/powerpoint/2010/main" val="22520106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9FACBBB-5315-45D4-BF61-26F099C1F79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 xmlns:a16="http://schemas.microsoft.com/office/drawing/2014/main" id="{5515EE24-5306-4321-87D4-0230D737D9F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 xmlns:a16="http://schemas.microsoft.com/office/drawing/2014/main" id="{1E532815-F074-4391-84BA-D63EA8DB519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 xmlns:a16="http://schemas.microsoft.com/office/drawing/2014/main" id="{1FAC2155-9E3F-4DFF-A78B-8C56CABC21A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 xmlns:a16="http://schemas.microsoft.com/office/drawing/2014/main" id="{977E3EF3-A991-4FF2-8569-325F06C8631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 xmlns:a16="http://schemas.microsoft.com/office/drawing/2014/main" id="{4E7AB23F-407F-444D-9F96-B742BE0CB081}"/>
              </a:ext>
            </a:extLst>
          </p:cNvPr>
          <p:cNvSpPr>
            <a:spLocks noGrp="1"/>
          </p:cNvSpPr>
          <p:nvPr>
            <p:ph type="dt" sz="half" idx="10"/>
          </p:nvPr>
        </p:nvSpPr>
        <p:spPr/>
        <p:txBody>
          <a:bodyPr/>
          <a:lstStyle/>
          <a:p>
            <a:fld id="{146EDD2E-AF6E-47DC-890C-D2B624409947}" type="datetimeFigureOut">
              <a:rPr lang="en-US" smtClean="0"/>
              <a:t>6/28/2022</a:t>
            </a:fld>
            <a:endParaRPr lang="en-US"/>
          </a:p>
        </p:txBody>
      </p:sp>
      <p:sp>
        <p:nvSpPr>
          <p:cNvPr id="8" name="Footer Placeholder 7">
            <a:extLst>
              <a:ext uri="{FF2B5EF4-FFF2-40B4-BE49-F238E27FC236}">
                <a16:creationId xmlns="" xmlns:a16="http://schemas.microsoft.com/office/drawing/2014/main" id="{2AE00144-BA72-4A02-BA17-C2E6ABE6050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 xmlns:a16="http://schemas.microsoft.com/office/drawing/2014/main" id="{956EF456-EB18-4100-9CE5-206E5B6E75B0}"/>
              </a:ext>
            </a:extLst>
          </p:cNvPr>
          <p:cNvSpPr>
            <a:spLocks noGrp="1"/>
          </p:cNvSpPr>
          <p:nvPr>
            <p:ph type="sldNum" sz="quarter" idx="12"/>
          </p:nvPr>
        </p:nvSpPr>
        <p:spPr/>
        <p:txBody>
          <a:bodyPr/>
          <a:lstStyle/>
          <a:p>
            <a:fld id="{2ACD9215-59B7-401D-9643-4AE8D59C090B}" type="slidenum">
              <a:rPr lang="en-US" smtClean="0"/>
              <a:t>‹#›</a:t>
            </a:fld>
            <a:endParaRPr lang="en-US"/>
          </a:p>
        </p:txBody>
      </p:sp>
    </p:spTree>
    <p:extLst>
      <p:ext uri="{BB962C8B-B14F-4D97-AF65-F5344CB8AC3E}">
        <p14:creationId xmlns:p14="http://schemas.microsoft.com/office/powerpoint/2010/main" val="17217550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Rectangle 5">
            <a:extLst>
              <a:ext uri="{FF2B5EF4-FFF2-40B4-BE49-F238E27FC236}">
                <a16:creationId xmlns="" xmlns:a16="http://schemas.microsoft.com/office/drawing/2014/main" id="{89BA81A8-8427-42C4-9E6E-ED379197B2B8}"/>
              </a:ext>
            </a:extLst>
          </p:cNvPr>
          <p:cNvSpPr/>
          <p:nvPr userDrawn="1"/>
        </p:nvSpPr>
        <p:spPr>
          <a:xfrm>
            <a:off x="6235700" y="0"/>
            <a:ext cx="59563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 xmlns:a16="http://schemas.microsoft.com/office/drawing/2014/main" id="{C1E99322-D0AB-44C7-B68E-F9E3C0AA3452}"/>
              </a:ext>
            </a:extLst>
          </p:cNvPr>
          <p:cNvSpPr/>
          <p:nvPr userDrawn="1"/>
        </p:nvSpPr>
        <p:spPr>
          <a:xfrm>
            <a:off x="0" y="0"/>
            <a:ext cx="59563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 xmlns:a16="http://schemas.microsoft.com/office/drawing/2014/main" id="{C8CBDD9E-C173-411F-8978-F4E284A954BB}"/>
              </a:ext>
            </a:extLst>
          </p:cNvPr>
          <p:cNvSpPr/>
          <p:nvPr userDrawn="1"/>
        </p:nvSpPr>
        <p:spPr>
          <a:xfrm>
            <a:off x="188687" y="182789"/>
            <a:ext cx="11814627" cy="65386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 xmlns:a16="http://schemas.microsoft.com/office/drawing/2014/main" id="{DAD37813-2CF6-441F-809E-B375EE2AF3E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 xmlns:a16="http://schemas.microsoft.com/office/drawing/2014/main" id="{B3473419-2BA8-44AC-AB0F-A12C1E04B2F7}"/>
              </a:ext>
            </a:extLst>
          </p:cNvPr>
          <p:cNvSpPr>
            <a:spLocks noGrp="1"/>
          </p:cNvSpPr>
          <p:nvPr>
            <p:ph type="dt" sz="half" idx="10"/>
          </p:nvPr>
        </p:nvSpPr>
        <p:spPr/>
        <p:txBody>
          <a:bodyPr/>
          <a:lstStyle/>
          <a:p>
            <a:fld id="{146EDD2E-AF6E-47DC-890C-D2B624409947}" type="datetimeFigureOut">
              <a:rPr lang="en-US" smtClean="0"/>
              <a:t>6/28/2022</a:t>
            </a:fld>
            <a:endParaRPr lang="en-US"/>
          </a:p>
        </p:txBody>
      </p:sp>
      <p:sp>
        <p:nvSpPr>
          <p:cNvPr id="4" name="Footer Placeholder 3">
            <a:extLst>
              <a:ext uri="{FF2B5EF4-FFF2-40B4-BE49-F238E27FC236}">
                <a16:creationId xmlns="" xmlns:a16="http://schemas.microsoft.com/office/drawing/2014/main" id="{1BAAF00F-9D11-455E-8B7E-2B9C64B505C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 xmlns:a16="http://schemas.microsoft.com/office/drawing/2014/main" id="{D3268E1D-CC3A-4BD0-80F7-458BCAA4BFEC}"/>
              </a:ext>
            </a:extLst>
          </p:cNvPr>
          <p:cNvSpPr>
            <a:spLocks noGrp="1"/>
          </p:cNvSpPr>
          <p:nvPr>
            <p:ph type="sldNum" sz="quarter" idx="12"/>
          </p:nvPr>
        </p:nvSpPr>
        <p:spPr/>
        <p:txBody>
          <a:bodyPr/>
          <a:lstStyle/>
          <a:p>
            <a:fld id="{2ACD9215-59B7-401D-9643-4AE8D59C090B}" type="slidenum">
              <a:rPr lang="en-US" smtClean="0"/>
              <a:t>‹#›</a:t>
            </a:fld>
            <a:endParaRPr lang="en-US"/>
          </a:p>
        </p:txBody>
      </p:sp>
      <p:sp>
        <p:nvSpPr>
          <p:cNvPr id="9" name="Rectangle 8">
            <a:extLst>
              <a:ext uri="{FF2B5EF4-FFF2-40B4-BE49-F238E27FC236}">
                <a16:creationId xmlns="" xmlns:a16="http://schemas.microsoft.com/office/drawing/2014/main" id="{AB9F6BE6-1FB5-4588-8F14-A58CF75A9AF3}"/>
              </a:ext>
            </a:extLst>
          </p:cNvPr>
          <p:cNvSpPr/>
          <p:nvPr userDrawn="1"/>
        </p:nvSpPr>
        <p:spPr>
          <a:xfrm>
            <a:off x="10160000" y="6286500"/>
            <a:ext cx="1676400" cy="571500"/>
          </a:xfrm>
          <a:prstGeom prst="rect">
            <a:avLst/>
          </a:prstGeom>
          <a:pattFill prst="wdDnDiag">
            <a:fgClr>
              <a:schemeClr val="bg2">
                <a:lumMod val="90000"/>
              </a:schemeClr>
            </a:fgClr>
            <a:bgClr>
              <a:schemeClr val="bg1"/>
            </a:bgClr>
          </a:patt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621097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F97AD7B8-2A79-4B15-B8F9-7D2C252C0B71}"/>
              </a:ext>
            </a:extLst>
          </p:cNvPr>
          <p:cNvSpPr>
            <a:spLocks noGrp="1"/>
          </p:cNvSpPr>
          <p:nvPr>
            <p:ph type="dt" sz="half" idx="10"/>
          </p:nvPr>
        </p:nvSpPr>
        <p:spPr/>
        <p:txBody>
          <a:bodyPr/>
          <a:lstStyle/>
          <a:p>
            <a:fld id="{146EDD2E-AF6E-47DC-890C-D2B624409947}" type="datetimeFigureOut">
              <a:rPr lang="en-US" smtClean="0"/>
              <a:t>6/28/2022</a:t>
            </a:fld>
            <a:endParaRPr lang="en-US"/>
          </a:p>
        </p:txBody>
      </p:sp>
      <p:sp>
        <p:nvSpPr>
          <p:cNvPr id="3" name="Footer Placeholder 2">
            <a:extLst>
              <a:ext uri="{FF2B5EF4-FFF2-40B4-BE49-F238E27FC236}">
                <a16:creationId xmlns="" xmlns:a16="http://schemas.microsoft.com/office/drawing/2014/main" id="{80CD3D3E-0564-4F96-98E5-33109CAF9DC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 xmlns:a16="http://schemas.microsoft.com/office/drawing/2014/main" id="{D3051355-5E85-4B04-866B-4EB218DB388C}"/>
              </a:ext>
            </a:extLst>
          </p:cNvPr>
          <p:cNvSpPr>
            <a:spLocks noGrp="1"/>
          </p:cNvSpPr>
          <p:nvPr>
            <p:ph type="sldNum" sz="quarter" idx="12"/>
          </p:nvPr>
        </p:nvSpPr>
        <p:spPr/>
        <p:txBody>
          <a:bodyPr/>
          <a:lstStyle/>
          <a:p>
            <a:fld id="{2ACD9215-59B7-401D-9643-4AE8D59C090B}" type="slidenum">
              <a:rPr lang="en-US" smtClean="0"/>
              <a:t>‹#›</a:t>
            </a:fld>
            <a:endParaRPr lang="en-US"/>
          </a:p>
        </p:txBody>
      </p:sp>
    </p:spTree>
    <p:extLst>
      <p:ext uri="{BB962C8B-B14F-4D97-AF65-F5344CB8AC3E}">
        <p14:creationId xmlns:p14="http://schemas.microsoft.com/office/powerpoint/2010/main" val="21573852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theme" Target="../theme/theme2.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slideLayout" Target="../slideLayouts/slideLayout14.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EC59F4C5-B0B1-4297-BAA0-7E0E72AFC756}"/>
              </a:ext>
            </a:extLst>
          </p:cNvPr>
          <p:cNvGraphicFramePr>
            <a:graphicFrameLocks noChangeAspect="1"/>
          </p:cNvGraphicFramePr>
          <p:nvPr userDrawn="1">
            <p:custDataLst>
              <p:tags r:id="rId5"/>
            </p:custDataLst>
            <p:extLst>
              <p:ext uri="{D42A27DB-BD31-4B8C-83A1-F6EECF244321}">
                <p14:modId xmlns:p14="http://schemas.microsoft.com/office/powerpoint/2010/main" val="3801975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2" name="think-cell Slide" r:id="rId7" imgW="383" imgH="384" progId="TCLayout.ActiveDocument.1">
                  <p:embed/>
                </p:oleObj>
              </mc:Choice>
              <mc:Fallback>
                <p:oleObj name="think-cell Slide" r:id="rId7" imgW="383"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 xmlns:a16="http://schemas.microsoft.com/office/drawing/2014/main" id="{51C34D6F-D0F4-4534-8C4A-5CB0647CBE1B}"/>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600" b="1" i="0" baseline="0" dirty="0">
              <a:latin typeface="Calibri" panose="020F0502020204030204" pitchFamily="34" charset="0"/>
              <a:ea typeface="+mj-ea"/>
              <a:cs typeface="+mj-cs"/>
              <a:sym typeface="Calibri" panose="020F0502020204030204" pitchFamily="34" charset="0"/>
            </a:endParaRPr>
          </a:p>
        </p:txBody>
      </p:sp>
      <p:sp>
        <p:nvSpPr>
          <p:cNvPr id="2" name="Title Placeholder 1">
            <a:extLst>
              <a:ext uri="{FF2B5EF4-FFF2-40B4-BE49-F238E27FC236}">
                <a16:creationId xmlns="" xmlns:a16="http://schemas.microsoft.com/office/drawing/2014/main" id="{C15189CC-BB19-4580-9BD1-E60E21E8F458}"/>
              </a:ext>
            </a:extLst>
          </p:cNvPr>
          <p:cNvSpPr>
            <a:spLocks noGrp="1"/>
          </p:cNvSpPr>
          <p:nvPr>
            <p:ph type="title"/>
          </p:nvPr>
        </p:nvSpPr>
        <p:spPr>
          <a:xfrm>
            <a:off x="609600" y="365126"/>
            <a:ext cx="10972800" cy="775612"/>
          </a:xfrm>
          <a:prstGeom prst="rect">
            <a:avLst/>
          </a:prstGeom>
        </p:spPr>
        <p:txBody>
          <a:bodyPr vert="horz" lIns="0" tIns="0" rIns="0" bIns="0" rtlCol="0" anchor="ctr">
            <a:normAutofit/>
          </a:bodyPr>
          <a:lstStyle/>
          <a:p>
            <a:r>
              <a:rPr lang="en-US" dirty="0"/>
              <a:t>Click to edit Master title style</a:t>
            </a:r>
          </a:p>
        </p:txBody>
      </p:sp>
      <p:sp>
        <p:nvSpPr>
          <p:cNvPr id="3" name="Text Placeholder 2">
            <a:extLst>
              <a:ext uri="{FF2B5EF4-FFF2-40B4-BE49-F238E27FC236}">
                <a16:creationId xmlns="" xmlns:a16="http://schemas.microsoft.com/office/drawing/2014/main" id="{9FBED655-EDEF-4F48-8965-AC9A79BA0CE8}"/>
              </a:ext>
            </a:extLst>
          </p:cNvPr>
          <p:cNvSpPr>
            <a:spLocks noGrp="1"/>
          </p:cNvSpPr>
          <p:nvPr>
            <p:ph type="body" idx="1"/>
          </p:nvPr>
        </p:nvSpPr>
        <p:spPr>
          <a:xfrm>
            <a:off x="609600" y="1330859"/>
            <a:ext cx="10972800" cy="48461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Single Corner Rounded 12">
            <a:extLst>
              <a:ext uri="{FF2B5EF4-FFF2-40B4-BE49-F238E27FC236}">
                <a16:creationId xmlns="" xmlns:a16="http://schemas.microsoft.com/office/drawing/2014/main" id="{D9201932-F016-4634-83E9-B726DBE3A173}"/>
              </a:ext>
            </a:extLst>
          </p:cNvPr>
          <p:cNvSpPr/>
          <p:nvPr userDrawn="1"/>
        </p:nvSpPr>
        <p:spPr>
          <a:xfrm flipH="1">
            <a:off x="11492632" y="6158632"/>
            <a:ext cx="699368" cy="699368"/>
          </a:xfrm>
          <a:prstGeom prst="round1Rect">
            <a:avLst>
              <a:gd name="adj" fmla="val 31194"/>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a:extLst>
              <a:ext uri="{FF2B5EF4-FFF2-40B4-BE49-F238E27FC236}">
                <a16:creationId xmlns="" xmlns:a16="http://schemas.microsoft.com/office/drawing/2014/main" id="{6AC4CF72-3B1D-42D0-A397-3629DD6ABDF2}"/>
              </a:ext>
            </a:extLst>
          </p:cNvPr>
          <p:cNvSpPr>
            <a:spLocks noGrp="1"/>
          </p:cNvSpPr>
          <p:nvPr>
            <p:ph type="sldNum" sz="quarter" idx="4"/>
          </p:nvPr>
        </p:nvSpPr>
        <p:spPr>
          <a:xfrm>
            <a:off x="11658612" y="6369817"/>
            <a:ext cx="367408" cy="276999"/>
          </a:xfrm>
          <a:prstGeom prst="rect">
            <a:avLst/>
          </a:prstGeom>
        </p:spPr>
        <p:txBody>
          <a:bodyPr wrap="none" anchor="ctr">
            <a:spAutoFit/>
          </a:bodyPr>
          <a:lstStyle>
            <a:lvl1pPr algn="ctr">
              <a:defRPr sz="1200">
                <a:solidFill>
                  <a:schemeClr val="bg1"/>
                </a:solidFill>
              </a:defRPr>
            </a:lvl1pPr>
          </a:lstStyle>
          <a:p>
            <a:fld id="{B84D2E29-67F4-44D8-B0E3-F54815B4F123}" type="slidenum">
              <a:rPr lang="en-US" smtClean="0"/>
              <a:pPr/>
              <a:t>‹#›</a:t>
            </a:fld>
            <a:endParaRPr lang="en-US" dirty="0"/>
          </a:p>
        </p:txBody>
      </p:sp>
    </p:spTree>
    <p:extLst>
      <p:ext uri="{BB962C8B-B14F-4D97-AF65-F5344CB8AC3E}">
        <p14:creationId xmlns:p14="http://schemas.microsoft.com/office/powerpoint/2010/main" val="3153895429"/>
      </p:ext>
    </p:extLst>
  </p:cSld>
  <p:clrMap bg1="lt1" tx1="dk1" bg2="lt2" tx2="dk2" accent1="accent1" accent2="accent2" accent3="accent3" accent4="accent4" accent5="accent5" accent6="accent6" hlink="hlink" folHlink="folHlink"/>
  <p:sldLayoutIdLst>
    <p:sldLayoutId id="2147483649" r:id="rId1"/>
    <p:sldLayoutId id="2147483650" r:id="rId2"/>
  </p:sldLayoutIdLst>
  <p:hf hdr="0" ftr="0" dt="0"/>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7296" userDrawn="1">
          <p15:clr>
            <a:srgbClr val="F26B43"/>
          </p15:clr>
        </p15:guide>
        <p15:guide id="3" pos="38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7C24B0B4-6BDD-4B6C-8DC4-CE6A74225DF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 xmlns:a16="http://schemas.microsoft.com/office/drawing/2014/main" id="{FD6AC650-2510-484B-B679-3E8846CA9C3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BD0EA47C-4C58-46CA-9AD3-2A2A5400A64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46EDD2E-AF6E-47DC-890C-D2B624409947}" type="datetimeFigureOut">
              <a:rPr lang="en-US" smtClean="0"/>
              <a:t>6/28/2022</a:t>
            </a:fld>
            <a:endParaRPr lang="en-US"/>
          </a:p>
        </p:txBody>
      </p:sp>
      <p:sp>
        <p:nvSpPr>
          <p:cNvPr id="5" name="Footer Placeholder 4">
            <a:extLst>
              <a:ext uri="{FF2B5EF4-FFF2-40B4-BE49-F238E27FC236}">
                <a16:creationId xmlns="" xmlns:a16="http://schemas.microsoft.com/office/drawing/2014/main" id="{2C5BE471-1F60-4329-9C09-8DFF815D851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 xmlns:a16="http://schemas.microsoft.com/office/drawing/2014/main" id="{A55A945C-24D5-4E34-899B-D418CD7CDB6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ACD9215-59B7-401D-9643-4AE8D59C090B}" type="slidenum">
              <a:rPr lang="en-US" smtClean="0"/>
              <a:t>‹#›</a:t>
            </a:fld>
            <a:endParaRPr lang="en-US"/>
          </a:p>
        </p:txBody>
      </p:sp>
    </p:spTree>
    <p:extLst>
      <p:ext uri="{BB962C8B-B14F-4D97-AF65-F5344CB8AC3E}">
        <p14:creationId xmlns:p14="http://schemas.microsoft.com/office/powerpoint/2010/main" val="3227125500"/>
      </p:ext>
    </p:extLst>
  </p:cSld>
  <p:clrMap bg1="lt1" tx1="dk1" bg2="lt2" tx2="dk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 id="214748366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6.gif"/><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g"/><Relationship Id="rId1" Type="http://schemas.openxmlformats.org/officeDocument/2006/relationships/slideLayout" Target="../slideLayouts/slideLayout10.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F3526FF6-93C0-4668-ABD6-DCA4644EF04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48" name="think-cell Slide" r:id="rId6" imgW="383" imgH="384" progId="TCLayout.ActiveDocument.1">
                  <p:embed/>
                </p:oleObj>
              </mc:Choice>
              <mc:Fallback>
                <p:oleObj name="think-cell Slide" r:id="rId6" imgW="383"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 xmlns:a16="http://schemas.microsoft.com/office/drawing/2014/main" id="{C19A566D-18C1-4C6E-9C31-C3ACFBB7A3B5}"/>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600" b="1" dirty="0">
              <a:latin typeface="Calibri" panose="020F0502020204030204" pitchFamily="34" charset="0"/>
              <a:ea typeface="+mj-ea"/>
              <a:cs typeface="+mj-cs"/>
              <a:sym typeface="Calibri" panose="020F0502020204030204" pitchFamily="34" charset="0"/>
            </a:endParaRPr>
          </a:p>
        </p:txBody>
      </p:sp>
      <p:sp>
        <p:nvSpPr>
          <p:cNvPr id="8" name="Title 7">
            <a:extLst>
              <a:ext uri="{FF2B5EF4-FFF2-40B4-BE49-F238E27FC236}">
                <a16:creationId xmlns="" xmlns:a16="http://schemas.microsoft.com/office/drawing/2014/main" id="{B62A1B46-EE91-4D85-9559-A03F29371123}"/>
              </a:ext>
            </a:extLst>
          </p:cNvPr>
          <p:cNvSpPr>
            <a:spLocks noGrp="1"/>
          </p:cNvSpPr>
          <p:nvPr>
            <p:ph type="title"/>
          </p:nvPr>
        </p:nvSpPr>
        <p:spPr>
          <a:xfrm>
            <a:off x="5401995" y="2137656"/>
            <a:ext cx="6256618" cy="775612"/>
          </a:xfrm>
        </p:spPr>
        <p:txBody>
          <a:bodyPr>
            <a:noAutofit/>
          </a:bodyPr>
          <a:lstStyle/>
          <a:p>
            <a:pPr algn="ctr"/>
            <a:r>
              <a:rPr lang="ru-RU" sz="4000" dirty="0" smtClean="0">
                <a:latin typeface="Times New Roman" panose="02020603050405020304" pitchFamily="18" charset="0"/>
                <a:cs typeface="Times New Roman" panose="02020603050405020304" pitchFamily="18" charset="0"/>
              </a:rPr>
              <a:t>Презентация на тему: «Строение волоса. Фазы роста волос»</a:t>
            </a:r>
            <a:endParaRPr lang="en-US" sz="4000" dirty="0">
              <a:latin typeface="Times New Roman" panose="02020603050405020304" pitchFamily="18" charset="0"/>
              <a:cs typeface="Times New Roman" panose="02020603050405020304" pitchFamily="18" charset="0"/>
            </a:endParaRPr>
          </a:p>
        </p:txBody>
      </p:sp>
      <p:sp>
        <p:nvSpPr>
          <p:cNvPr id="82" name="Rectangle 34">
            <a:extLst>
              <a:ext uri="{FF2B5EF4-FFF2-40B4-BE49-F238E27FC236}">
                <a16:creationId xmlns="" xmlns:a16="http://schemas.microsoft.com/office/drawing/2014/main" id="{95E76223-C7DF-44AE-AF5C-211291AB60BA}"/>
              </a:ext>
            </a:extLst>
          </p:cNvPr>
          <p:cNvSpPr/>
          <p:nvPr/>
        </p:nvSpPr>
        <p:spPr>
          <a:xfrm flipH="1" flipV="1">
            <a:off x="0" y="3625932"/>
            <a:ext cx="11487152" cy="3232068"/>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 name="connsiteX0" fmla="*/ 0 w 3479810"/>
              <a:gd name="connsiteY0" fmla="*/ 0 h 1207779"/>
              <a:gd name="connsiteX1" fmla="*/ 3479810 w 3479810"/>
              <a:gd name="connsiteY1" fmla="*/ 4553 h 1207779"/>
              <a:gd name="connsiteX2" fmla="*/ 3479810 w 3479810"/>
              <a:gd name="connsiteY2" fmla="*/ 1130405 h 1207779"/>
              <a:gd name="connsiteX3" fmla="*/ 2185493 w 3479810"/>
              <a:gd name="connsiteY3" fmla="*/ 775263 h 1207779"/>
              <a:gd name="connsiteX4" fmla="*/ 0 w 3479810"/>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9810" h="1207779">
                <a:moveTo>
                  <a:pt x="0" y="0"/>
                </a:moveTo>
                <a:lnTo>
                  <a:pt x="3479810" y="4553"/>
                </a:lnTo>
                <a:lnTo>
                  <a:pt x="3479810" y="1130405"/>
                </a:lnTo>
                <a:cubicBezTo>
                  <a:pt x="3479511" y="1433772"/>
                  <a:pt x="3448427" y="745115"/>
                  <a:pt x="2185493" y="775263"/>
                </a:cubicBezTo>
                <a:cubicBezTo>
                  <a:pt x="922559" y="805411"/>
                  <a:pt x="59199" y="93304"/>
                  <a:pt x="0" y="0"/>
                </a:cubicBezTo>
                <a:close/>
              </a:path>
            </a:pathLst>
          </a:custGeom>
          <a:solidFill>
            <a:srgbClr val="DBCBD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9" name="TextBox 48">
            <a:extLst>
              <a:ext uri="{FF2B5EF4-FFF2-40B4-BE49-F238E27FC236}">
                <a16:creationId xmlns="" xmlns:a16="http://schemas.microsoft.com/office/drawing/2014/main" id="{088A9550-F038-4522-B957-33963EABE961}"/>
              </a:ext>
            </a:extLst>
          </p:cNvPr>
          <p:cNvSpPr txBox="1"/>
          <p:nvPr/>
        </p:nvSpPr>
        <p:spPr>
          <a:xfrm>
            <a:off x="6096000" y="3943910"/>
            <a:ext cx="5819335" cy="1508105"/>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400" dirty="0" smtClean="0"/>
              <a:t>________________________________________________________________</a:t>
            </a:r>
          </a:p>
          <a:p>
            <a:r>
              <a:rPr lang="ru-RU" sz="1400" dirty="0" smtClean="0"/>
              <a:t>________________________________________________________________</a:t>
            </a:r>
          </a:p>
          <a:p>
            <a:r>
              <a:rPr lang="ru-RU" sz="1400" dirty="0" smtClean="0"/>
              <a:t>________________________________________________________________</a:t>
            </a:r>
          </a:p>
          <a:p>
            <a:r>
              <a:rPr lang="ru-RU" sz="1400" dirty="0" smtClean="0"/>
              <a:t>________________________________________________________________</a:t>
            </a:r>
          </a:p>
          <a:p>
            <a:r>
              <a:rPr lang="ru-RU" sz="1400" dirty="0" smtClean="0"/>
              <a:t>________________________________________________________________</a:t>
            </a:r>
          </a:p>
          <a:p>
            <a:r>
              <a:rPr lang="ru-RU" sz="1400" dirty="0" smtClean="0"/>
              <a:t>________________________________________________________________</a:t>
            </a:r>
            <a:endParaRPr lang="en-US" sz="1400" dirty="0" smtClean="0"/>
          </a:p>
          <a:p>
            <a:r>
              <a:rPr lang="en-US" sz="1400" dirty="0" smtClean="0"/>
              <a:t>________________________________________________________________</a:t>
            </a:r>
            <a:endParaRPr lang="en-US" sz="1400" dirty="0"/>
          </a:p>
        </p:txBody>
      </p:sp>
      <p:sp>
        <p:nvSpPr>
          <p:cNvPr id="30" name="Rectangle: Rounded Corners 29">
            <a:extLst>
              <a:ext uri="{FF2B5EF4-FFF2-40B4-BE49-F238E27FC236}">
                <a16:creationId xmlns="" xmlns:a16="http://schemas.microsoft.com/office/drawing/2014/main" id="{1084F888-1588-4806-BB49-705D2F659B7D}"/>
              </a:ext>
            </a:extLst>
          </p:cNvPr>
          <p:cNvSpPr/>
          <p:nvPr/>
        </p:nvSpPr>
        <p:spPr>
          <a:xfrm>
            <a:off x="1166955" y="2754413"/>
            <a:ext cx="4112967" cy="3202087"/>
          </a:xfrm>
          <a:prstGeom prst="roundRect">
            <a:avLst>
              <a:gd name="adj" fmla="val 6764"/>
            </a:avLst>
          </a:prstGeom>
          <a:solidFill>
            <a:srgbClr val="A539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39" name="Group 38">
            <a:extLst>
              <a:ext uri="{FF2B5EF4-FFF2-40B4-BE49-F238E27FC236}">
                <a16:creationId xmlns="" xmlns:a16="http://schemas.microsoft.com/office/drawing/2014/main" id="{1CF7F638-788E-4F11-9698-1BE759841942}"/>
              </a:ext>
            </a:extLst>
          </p:cNvPr>
          <p:cNvGrpSpPr/>
          <p:nvPr/>
        </p:nvGrpSpPr>
        <p:grpSpPr>
          <a:xfrm>
            <a:off x="2656596" y="5354331"/>
            <a:ext cx="1133683" cy="1133683"/>
            <a:chOff x="2656596" y="5354331"/>
            <a:chExt cx="1133683" cy="1133683"/>
          </a:xfrm>
        </p:grpSpPr>
        <p:grpSp>
          <p:nvGrpSpPr>
            <p:cNvPr id="21" name="Group 20">
              <a:extLst>
                <a:ext uri="{FF2B5EF4-FFF2-40B4-BE49-F238E27FC236}">
                  <a16:creationId xmlns="" xmlns:a16="http://schemas.microsoft.com/office/drawing/2014/main" id="{3A2FB6EB-28FE-4A23-8B4D-CEA05CB1D410}"/>
                </a:ext>
              </a:extLst>
            </p:cNvPr>
            <p:cNvGrpSpPr/>
            <p:nvPr/>
          </p:nvGrpSpPr>
          <p:grpSpPr>
            <a:xfrm>
              <a:off x="2656596" y="5354331"/>
              <a:ext cx="1133683" cy="1133683"/>
              <a:chOff x="2656596" y="5354331"/>
              <a:chExt cx="1133683" cy="1133683"/>
            </a:xfrm>
          </p:grpSpPr>
          <p:sp>
            <p:nvSpPr>
              <p:cNvPr id="32" name="Oval 31">
                <a:extLst>
                  <a:ext uri="{FF2B5EF4-FFF2-40B4-BE49-F238E27FC236}">
                    <a16:creationId xmlns="" xmlns:a16="http://schemas.microsoft.com/office/drawing/2014/main" id="{A51E64DF-C3AF-47D6-91BD-96256DE0CC69}"/>
                  </a:ext>
                </a:extLst>
              </p:cNvPr>
              <p:cNvSpPr/>
              <p:nvPr/>
            </p:nvSpPr>
            <p:spPr>
              <a:xfrm>
                <a:off x="2656596" y="5354331"/>
                <a:ext cx="1133683" cy="1133683"/>
              </a:xfrm>
              <a:prstGeom prst="ellipse">
                <a:avLst/>
              </a:prstGeom>
              <a:solidFill>
                <a:schemeClr val="bg1">
                  <a:lumMod val="9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 xmlns:a16="http://schemas.microsoft.com/office/drawing/2014/main" id="{DC5A9E09-BB1B-4653-8522-95EF63DBD60F}"/>
                  </a:ext>
                </a:extLst>
              </p:cNvPr>
              <p:cNvSpPr/>
              <p:nvPr/>
            </p:nvSpPr>
            <p:spPr>
              <a:xfrm>
                <a:off x="2754280" y="5452015"/>
                <a:ext cx="938314" cy="938314"/>
              </a:xfrm>
              <a:prstGeom prst="ellipse">
                <a:avLst/>
              </a:prstGeom>
              <a:noFill/>
              <a:ln>
                <a:solidFill>
                  <a:schemeClr val="accent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4" name="Group 43">
              <a:extLst>
                <a:ext uri="{FF2B5EF4-FFF2-40B4-BE49-F238E27FC236}">
                  <a16:creationId xmlns="" xmlns:a16="http://schemas.microsoft.com/office/drawing/2014/main" id="{F263E3F9-B66F-4852-B03B-92C0CE0CB3E8}"/>
                </a:ext>
              </a:extLst>
            </p:cNvPr>
            <p:cNvGrpSpPr/>
            <p:nvPr/>
          </p:nvGrpSpPr>
          <p:grpSpPr>
            <a:xfrm>
              <a:off x="3047224" y="5740991"/>
              <a:ext cx="352426" cy="360363"/>
              <a:chOff x="5562600" y="4332288"/>
              <a:chExt cx="352426" cy="360363"/>
            </a:xfrm>
            <a:solidFill>
              <a:schemeClr val="accent1"/>
            </a:solidFill>
          </p:grpSpPr>
          <p:sp>
            <p:nvSpPr>
              <p:cNvPr id="45" name="Oval 127">
                <a:extLst>
                  <a:ext uri="{FF2B5EF4-FFF2-40B4-BE49-F238E27FC236}">
                    <a16:creationId xmlns="" xmlns:a16="http://schemas.microsoft.com/office/drawing/2014/main" id="{88D25CD4-1641-4123-9FB7-F8EB8137EFD2}"/>
                  </a:ext>
                </a:extLst>
              </p:cNvPr>
              <p:cNvSpPr>
                <a:spLocks noChangeArrowheads="1"/>
              </p:cNvSpPr>
              <p:nvPr/>
            </p:nvSpPr>
            <p:spPr bwMode="auto">
              <a:xfrm>
                <a:off x="5592763" y="4332288"/>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 name="Freeform 128">
                <a:extLst>
                  <a:ext uri="{FF2B5EF4-FFF2-40B4-BE49-F238E27FC236}">
                    <a16:creationId xmlns="" xmlns:a16="http://schemas.microsoft.com/office/drawing/2014/main" id="{F68A404C-BBEA-4963-8793-51CA34920068}"/>
                  </a:ext>
                </a:extLst>
              </p:cNvPr>
              <p:cNvSpPr>
                <a:spLocks/>
              </p:cNvSpPr>
              <p:nvPr/>
            </p:nvSpPr>
            <p:spPr bwMode="auto">
              <a:xfrm>
                <a:off x="5562600" y="4467226"/>
                <a:ext cx="180975" cy="225425"/>
              </a:xfrm>
              <a:custGeom>
                <a:avLst/>
                <a:gdLst>
                  <a:gd name="T0" fmla="*/ 28 w 48"/>
                  <a:gd name="T1" fmla="*/ 0 h 60"/>
                  <a:gd name="T2" fmla="*/ 30 w 48"/>
                  <a:gd name="T3" fmla="*/ 27 h 60"/>
                  <a:gd name="T4" fmla="*/ 24 w 48"/>
                  <a:gd name="T5" fmla="*/ 33 h 60"/>
                  <a:gd name="T6" fmla="*/ 18 w 48"/>
                  <a:gd name="T7" fmla="*/ 27 h 60"/>
                  <a:gd name="T8" fmla="*/ 20 w 48"/>
                  <a:gd name="T9" fmla="*/ 0 h 60"/>
                  <a:gd name="T10" fmla="*/ 0 w 48"/>
                  <a:gd name="T11" fmla="*/ 0 h 60"/>
                  <a:gd name="T12" fmla="*/ 0 w 48"/>
                  <a:gd name="T13" fmla="*/ 2 h 60"/>
                  <a:gd name="T14" fmla="*/ 14 w 48"/>
                  <a:gd name="T15" fmla="*/ 33 h 60"/>
                  <a:gd name="T16" fmla="*/ 14 w 48"/>
                  <a:gd name="T17" fmla="*/ 60 h 60"/>
                  <a:gd name="T18" fmla="*/ 34 w 48"/>
                  <a:gd name="T19" fmla="*/ 60 h 60"/>
                  <a:gd name="T20" fmla="*/ 34 w 48"/>
                  <a:gd name="T21" fmla="*/ 33 h 60"/>
                  <a:gd name="T22" fmla="*/ 48 w 48"/>
                  <a:gd name="T23" fmla="*/ 2 h 60"/>
                  <a:gd name="T24" fmla="*/ 48 w 48"/>
                  <a:gd name="T25" fmla="*/ 0 h 60"/>
                  <a:gd name="T26" fmla="*/ 28 w 48"/>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28" y="0"/>
                    </a:moveTo>
                    <a:cubicBezTo>
                      <a:pt x="30" y="27"/>
                      <a:pt x="30" y="27"/>
                      <a:pt x="30" y="27"/>
                    </a:cubicBezTo>
                    <a:cubicBezTo>
                      <a:pt x="24" y="33"/>
                      <a:pt x="24" y="33"/>
                      <a:pt x="24" y="33"/>
                    </a:cubicBezTo>
                    <a:cubicBezTo>
                      <a:pt x="18" y="27"/>
                      <a:pt x="18" y="27"/>
                      <a:pt x="18" y="27"/>
                    </a:cubicBezTo>
                    <a:cubicBezTo>
                      <a:pt x="20" y="0"/>
                      <a:pt x="20" y="0"/>
                      <a:pt x="20" y="0"/>
                    </a:cubicBezTo>
                    <a:cubicBezTo>
                      <a:pt x="0" y="0"/>
                      <a:pt x="0" y="0"/>
                      <a:pt x="0" y="0"/>
                    </a:cubicBezTo>
                    <a:cubicBezTo>
                      <a:pt x="0" y="2"/>
                      <a:pt x="0" y="2"/>
                      <a:pt x="0" y="2"/>
                    </a:cubicBezTo>
                    <a:cubicBezTo>
                      <a:pt x="0" y="16"/>
                      <a:pt x="5" y="27"/>
                      <a:pt x="14" y="33"/>
                    </a:cubicBezTo>
                    <a:cubicBezTo>
                      <a:pt x="14" y="60"/>
                      <a:pt x="14" y="60"/>
                      <a:pt x="14" y="60"/>
                    </a:cubicBezTo>
                    <a:cubicBezTo>
                      <a:pt x="34" y="60"/>
                      <a:pt x="34" y="60"/>
                      <a:pt x="34" y="60"/>
                    </a:cubicBezTo>
                    <a:cubicBezTo>
                      <a:pt x="34" y="33"/>
                      <a:pt x="34" y="33"/>
                      <a:pt x="34" y="33"/>
                    </a:cubicBezTo>
                    <a:cubicBezTo>
                      <a:pt x="43" y="27"/>
                      <a:pt x="48" y="16"/>
                      <a:pt x="48" y="2"/>
                    </a:cubicBezTo>
                    <a:cubicBezTo>
                      <a:pt x="48" y="0"/>
                      <a:pt x="48" y="0"/>
                      <a:pt x="48" y="0"/>
                    </a:cubicBez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 name="Freeform 129">
                <a:extLst>
                  <a:ext uri="{FF2B5EF4-FFF2-40B4-BE49-F238E27FC236}">
                    <a16:creationId xmlns="" xmlns:a16="http://schemas.microsoft.com/office/drawing/2014/main" id="{55B7A32C-0B99-437A-BA61-F47F8E102E76}"/>
                  </a:ext>
                </a:extLst>
              </p:cNvPr>
              <p:cNvSpPr>
                <a:spLocks noEditPoints="1"/>
              </p:cNvSpPr>
              <p:nvPr/>
            </p:nvSpPr>
            <p:spPr bwMode="auto">
              <a:xfrm>
                <a:off x="5697538" y="4346576"/>
                <a:ext cx="217488" cy="225425"/>
              </a:xfrm>
              <a:custGeom>
                <a:avLst/>
                <a:gdLst>
                  <a:gd name="T0" fmla="*/ 4 w 58"/>
                  <a:gd name="T1" fmla="*/ 0 h 60"/>
                  <a:gd name="T2" fmla="*/ 8 w 58"/>
                  <a:gd name="T3" fmla="*/ 12 h 60"/>
                  <a:gd name="T4" fmla="*/ 0 w 58"/>
                  <a:gd name="T5" fmla="*/ 28 h 60"/>
                  <a:gd name="T6" fmla="*/ 16 w 58"/>
                  <a:gd name="T7" fmla="*/ 28 h 60"/>
                  <a:gd name="T8" fmla="*/ 16 w 58"/>
                  <a:gd name="T9" fmla="*/ 34 h 60"/>
                  <a:gd name="T10" fmla="*/ 9 w 58"/>
                  <a:gd name="T11" fmla="*/ 60 h 60"/>
                  <a:gd name="T12" fmla="*/ 58 w 58"/>
                  <a:gd name="T13" fmla="*/ 60 h 60"/>
                  <a:gd name="T14" fmla="*/ 58 w 58"/>
                  <a:gd name="T15" fmla="*/ 0 h 60"/>
                  <a:gd name="T16" fmla="*/ 4 w 58"/>
                  <a:gd name="T17" fmla="*/ 0 h 60"/>
                  <a:gd name="T18" fmla="*/ 45 w 58"/>
                  <a:gd name="T19" fmla="*/ 44 h 60"/>
                  <a:gd name="T20" fmla="*/ 44 w 58"/>
                  <a:gd name="T21" fmla="*/ 44 h 60"/>
                  <a:gd name="T22" fmla="*/ 43 w 58"/>
                  <a:gd name="T23" fmla="*/ 43 h 60"/>
                  <a:gd name="T24" fmla="*/ 40 w 58"/>
                  <a:gd name="T25" fmla="*/ 36 h 60"/>
                  <a:gd name="T26" fmla="*/ 28 w 58"/>
                  <a:gd name="T27" fmla="*/ 36 h 60"/>
                  <a:gd name="T28" fmla="*/ 25 w 58"/>
                  <a:gd name="T29" fmla="*/ 43 h 60"/>
                  <a:gd name="T30" fmla="*/ 23 w 58"/>
                  <a:gd name="T31" fmla="*/ 44 h 60"/>
                  <a:gd name="T32" fmla="*/ 22 w 58"/>
                  <a:gd name="T33" fmla="*/ 41 h 60"/>
                  <a:gd name="T34" fmla="*/ 32 w 58"/>
                  <a:gd name="T35" fmla="*/ 14 h 60"/>
                  <a:gd name="T36" fmla="*/ 34 w 58"/>
                  <a:gd name="T37" fmla="*/ 12 h 60"/>
                  <a:gd name="T38" fmla="*/ 36 w 58"/>
                  <a:gd name="T39" fmla="*/ 14 h 60"/>
                  <a:gd name="T40" fmla="*/ 46 w 58"/>
                  <a:gd name="T41" fmla="*/ 41 h 60"/>
                  <a:gd name="T42" fmla="*/ 45 w 58"/>
                  <a:gd name="T43" fmla="*/ 4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60">
                    <a:moveTo>
                      <a:pt x="4" y="0"/>
                    </a:moveTo>
                    <a:cubicBezTo>
                      <a:pt x="6" y="3"/>
                      <a:pt x="8" y="7"/>
                      <a:pt x="8" y="12"/>
                    </a:cubicBezTo>
                    <a:cubicBezTo>
                      <a:pt x="8" y="19"/>
                      <a:pt x="5" y="24"/>
                      <a:pt x="0" y="28"/>
                    </a:cubicBezTo>
                    <a:cubicBezTo>
                      <a:pt x="16" y="28"/>
                      <a:pt x="16" y="28"/>
                      <a:pt x="16" y="28"/>
                    </a:cubicBezTo>
                    <a:cubicBezTo>
                      <a:pt x="16" y="34"/>
                      <a:pt x="16" y="34"/>
                      <a:pt x="16" y="34"/>
                    </a:cubicBezTo>
                    <a:cubicBezTo>
                      <a:pt x="16" y="44"/>
                      <a:pt x="13" y="53"/>
                      <a:pt x="9" y="60"/>
                    </a:cubicBezTo>
                    <a:cubicBezTo>
                      <a:pt x="58" y="60"/>
                      <a:pt x="58" y="60"/>
                      <a:pt x="58" y="60"/>
                    </a:cubicBezTo>
                    <a:cubicBezTo>
                      <a:pt x="58" y="0"/>
                      <a:pt x="58" y="0"/>
                      <a:pt x="58" y="0"/>
                    </a:cubicBezTo>
                    <a:lnTo>
                      <a:pt x="4" y="0"/>
                    </a:lnTo>
                    <a:close/>
                    <a:moveTo>
                      <a:pt x="45" y="44"/>
                    </a:moveTo>
                    <a:cubicBezTo>
                      <a:pt x="45" y="44"/>
                      <a:pt x="45" y="44"/>
                      <a:pt x="44" y="44"/>
                    </a:cubicBezTo>
                    <a:cubicBezTo>
                      <a:pt x="44" y="44"/>
                      <a:pt x="43" y="44"/>
                      <a:pt x="43" y="43"/>
                    </a:cubicBezTo>
                    <a:cubicBezTo>
                      <a:pt x="40" y="36"/>
                      <a:pt x="40" y="36"/>
                      <a:pt x="40" y="36"/>
                    </a:cubicBezTo>
                    <a:cubicBezTo>
                      <a:pt x="28" y="36"/>
                      <a:pt x="28" y="36"/>
                      <a:pt x="28" y="36"/>
                    </a:cubicBezTo>
                    <a:cubicBezTo>
                      <a:pt x="25" y="43"/>
                      <a:pt x="25" y="43"/>
                      <a:pt x="25" y="43"/>
                    </a:cubicBezTo>
                    <a:cubicBezTo>
                      <a:pt x="25" y="44"/>
                      <a:pt x="24" y="44"/>
                      <a:pt x="23" y="44"/>
                    </a:cubicBezTo>
                    <a:cubicBezTo>
                      <a:pt x="22" y="43"/>
                      <a:pt x="21" y="42"/>
                      <a:pt x="22" y="41"/>
                    </a:cubicBezTo>
                    <a:cubicBezTo>
                      <a:pt x="32" y="14"/>
                      <a:pt x="32" y="14"/>
                      <a:pt x="32" y="14"/>
                    </a:cubicBezTo>
                    <a:cubicBezTo>
                      <a:pt x="32" y="13"/>
                      <a:pt x="33" y="12"/>
                      <a:pt x="34" y="12"/>
                    </a:cubicBezTo>
                    <a:cubicBezTo>
                      <a:pt x="35" y="12"/>
                      <a:pt x="36" y="13"/>
                      <a:pt x="36" y="14"/>
                    </a:cubicBezTo>
                    <a:cubicBezTo>
                      <a:pt x="46" y="41"/>
                      <a:pt x="46" y="41"/>
                      <a:pt x="46" y="41"/>
                    </a:cubicBezTo>
                    <a:cubicBezTo>
                      <a:pt x="47" y="42"/>
                      <a:pt x="46" y="44"/>
                      <a:pt x="45"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8" name="Freeform 130">
                <a:extLst>
                  <a:ext uri="{FF2B5EF4-FFF2-40B4-BE49-F238E27FC236}">
                    <a16:creationId xmlns="" xmlns:a16="http://schemas.microsoft.com/office/drawing/2014/main" id="{715B3548-B629-4745-AAD1-2138584703CF}"/>
                  </a:ext>
                </a:extLst>
              </p:cNvPr>
              <p:cNvSpPr>
                <a:spLocks/>
              </p:cNvSpPr>
              <p:nvPr/>
            </p:nvSpPr>
            <p:spPr bwMode="auto">
              <a:xfrm>
                <a:off x="5810250" y="4422776"/>
                <a:ext cx="34925" cy="44450"/>
              </a:xfrm>
              <a:custGeom>
                <a:avLst/>
                <a:gdLst>
                  <a:gd name="T0" fmla="*/ 0 w 22"/>
                  <a:gd name="T1" fmla="*/ 28 h 28"/>
                  <a:gd name="T2" fmla="*/ 22 w 22"/>
                  <a:gd name="T3" fmla="*/ 28 h 28"/>
                  <a:gd name="T4" fmla="*/ 10 w 22"/>
                  <a:gd name="T5" fmla="*/ 0 h 28"/>
                  <a:gd name="T6" fmla="*/ 0 w 22"/>
                  <a:gd name="T7" fmla="*/ 28 h 28"/>
                </a:gdLst>
                <a:ahLst/>
                <a:cxnLst>
                  <a:cxn ang="0">
                    <a:pos x="T0" y="T1"/>
                  </a:cxn>
                  <a:cxn ang="0">
                    <a:pos x="T2" y="T3"/>
                  </a:cxn>
                  <a:cxn ang="0">
                    <a:pos x="T4" y="T5"/>
                  </a:cxn>
                  <a:cxn ang="0">
                    <a:pos x="T6" y="T7"/>
                  </a:cxn>
                </a:cxnLst>
                <a:rect l="0" t="0" r="r" b="b"/>
                <a:pathLst>
                  <a:path w="22" h="28">
                    <a:moveTo>
                      <a:pt x="0" y="28"/>
                    </a:moveTo>
                    <a:lnTo>
                      <a:pt x="22" y="28"/>
                    </a:lnTo>
                    <a:lnTo>
                      <a:pt x="10" y="0"/>
                    </a:lnTo>
                    <a:lnTo>
                      <a:pt x="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sp>
        <p:nvSpPr>
          <p:cNvPr id="23" name="TextBox 22">
            <a:extLst>
              <a:ext uri="{FF2B5EF4-FFF2-40B4-BE49-F238E27FC236}">
                <a16:creationId xmlns="" xmlns:a16="http://schemas.microsoft.com/office/drawing/2014/main" id="{CB7E72AE-21F9-48A1-9B62-3C22913145E4}"/>
              </a:ext>
            </a:extLst>
          </p:cNvPr>
          <p:cNvSpPr txBox="1"/>
          <p:nvPr/>
        </p:nvSpPr>
        <p:spPr>
          <a:xfrm>
            <a:off x="9875520" y="211015"/>
            <a:ext cx="1783092" cy="253219"/>
          </a:xfrm>
          <a:prstGeom prst="rect">
            <a:avLst/>
          </a:prstGeom>
          <a:noFill/>
        </p:spPr>
        <p:txBody>
          <a:bodyPr wrap="square" lIns="0" tIns="0" rIns="0" bIns="0" rtlCol="0">
            <a:spAutoFit/>
          </a:bodyPr>
          <a:lstStyle/>
          <a:p>
            <a:pPr algn="r"/>
            <a:r>
              <a:rPr lang="en-US" sz="1600" dirty="0" smtClean="0">
                <a:latin typeface="Times New Roman" panose="02020603050405020304" pitchFamily="18" charset="0"/>
                <a:cs typeface="Times New Roman" panose="02020603050405020304" pitchFamily="18" charset="0"/>
              </a:rPr>
              <a:t>https</a:t>
            </a:r>
            <a:r>
              <a:rPr lang="en-US" sz="1600" dirty="0">
                <a:latin typeface="Times New Roman" panose="02020603050405020304" pitchFamily="18" charset="0"/>
                <a:cs typeface="Times New Roman" panose="02020603050405020304" pitchFamily="18" charset="0"/>
              </a:rPr>
              <a:t>://venerahair.ru/</a:t>
            </a:r>
          </a:p>
        </p:txBody>
      </p:sp>
      <p:pic>
        <p:nvPicPr>
          <p:cNvPr id="3" name="Рисунок 2"/>
          <p:cNvPicPr>
            <a:picLocks noChangeAspect="1"/>
          </p:cNvPicPr>
          <p:nvPr/>
        </p:nvPicPr>
        <p:blipFill rotWithShape="1">
          <a:blip r:embed="rId8">
            <a:extLst>
              <a:ext uri="{28A0092B-C50C-407E-A947-70E740481C1C}">
                <a14:useLocalDpi xmlns:a14="http://schemas.microsoft.com/office/drawing/2010/main" val="0"/>
              </a:ext>
            </a:extLst>
          </a:blip>
          <a:srcRect l="5084" r="9244"/>
          <a:stretch/>
        </p:blipFill>
        <p:spPr>
          <a:xfrm>
            <a:off x="1336431" y="187593"/>
            <a:ext cx="3727938" cy="5128638"/>
          </a:xfrm>
          <a:prstGeom prst="rect">
            <a:avLst/>
          </a:prstGeom>
        </p:spPr>
      </p:pic>
      <p:sp>
        <p:nvSpPr>
          <p:cNvPr id="22" name="Freeform: Shape 56">
            <a:extLst>
              <a:ext uri="{FF2B5EF4-FFF2-40B4-BE49-F238E27FC236}">
                <a16:creationId xmlns="" xmlns:a16="http://schemas.microsoft.com/office/drawing/2014/main" id="{E98BAF20-4A16-447D-82AF-B00D74FDE7E9}"/>
              </a:ext>
            </a:extLst>
          </p:cNvPr>
          <p:cNvSpPr/>
          <p:nvPr/>
        </p:nvSpPr>
        <p:spPr>
          <a:xfrm flipV="1">
            <a:off x="6096000" y="5627073"/>
            <a:ext cx="6096002" cy="1230926"/>
          </a:xfrm>
          <a:custGeom>
            <a:avLst/>
            <a:gdLst>
              <a:gd name="connsiteX0" fmla="*/ 1176592 w 1184981"/>
              <a:gd name="connsiteY0" fmla="*/ 849112 h 849168"/>
              <a:gd name="connsiteX1" fmla="*/ 1184981 w 1184981"/>
              <a:gd name="connsiteY1" fmla="*/ 794657 h 849168"/>
              <a:gd name="connsiteX2" fmla="*/ 1184981 w 1184981"/>
              <a:gd name="connsiteY2" fmla="*/ 1476 h 849168"/>
              <a:gd name="connsiteX3" fmla="*/ 0 w 1184981"/>
              <a:gd name="connsiteY3" fmla="*/ 0 h 849168"/>
              <a:gd name="connsiteX4" fmla="*/ 0 w 1184981"/>
              <a:gd name="connsiteY4" fmla="*/ 544469 h 849168"/>
              <a:gd name="connsiteX5" fmla="*/ 59549 w 1184981"/>
              <a:gd name="connsiteY5" fmla="*/ 545886 h 849168"/>
              <a:gd name="connsiteX6" fmla="*/ 226860 w 1184981"/>
              <a:gd name="connsiteY6" fmla="*/ 544454 h 849168"/>
              <a:gd name="connsiteX7" fmla="*/ 1176592 w 1184981"/>
              <a:gd name="connsiteY7" fmla="*/ 849112 h 849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4981" h="849168">
                <a:moveTo>
                  <a:pt x="1176592" y="849112"/>
                </a:moveTo>
                <a:cubicBezTo>
                  <a:pt x="1184097" y="850234"/>
                  <a:pt x="1184940" y="834731"/>
                  <a:pt x="1184981" y="794657"/>
                </a:cubicBezTo>
                <a:lnTo>
                  <a:pt x="1184981" y="1476"/>
                </a:lnTo>
                <a:lnTo>
                  <a:pt x="0" y="0"/>
                </a:lnTo>
                <a:lnTo>
                  <a:pt x="0" y="544469"/>
                </a:lnTo>
                <a:lnTo>
                  <a:pt x="59549" y="545886"/>
                </a:lnTo>
                <a:cubicBezTo>
                  <a:pt x="112733" y="546255"/>
                  <a:pt x="168429" y="545781"/>
                  <a:pt x="226860" y="544454"/>
                </a:cubicBezTo>
                <a:cubicBezTo>
                  <a:pt x="986458" y="527196"/>
                  <a:pt x="1144073" y="844249"/>
                  <a:pt x="1176592" y="849112"/>
                </a:cubicBezTo>
                <a:close/>
              </a:path>
            </a:pathLst>
          </a:custGeom>
          <a:solidFill>
            <a:srgbClr val="A53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308131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4">
            <a:extLst>
              <a:ext uri="{FF2B5EF4-FFF2-40B4-BE49-F238E27FC236}">
                <a16:creationId xmlns="" xmlns:a16="http://schemas.microsoft.com/office/drawing/2014/main" id="{B210F6F7-62F4-4E9E-9E2E-B49C62584D97}"/>
              </a:ext>
            </a:extLst>
          </p:cNvPr>
          <p:cNvSpPr/>
          <p:nvPr/>
        </p:nvSpPr>
        <p:spPr>
          <a:xfrm>
            <a:off x="-1" y="0"/>
            <a:ext cx="4023361" cy="6858000"/>
          </a:xfrm>
          <a:prstGeom prst="rect">
            <a:avLst/>
          </a:prstGeom>
          <a:solidFill>
            <a:srgbClr val="A539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 name="TextBox 2">
            <a:extLst>
              <a:ext uri="{FF2B5EF4-FFF2-40B4-BE49-F238E27FC236}">
                <a16:creationId xmlns="" xmlns:a16="http://schemas.microsoft.com/office/drawing/2014/main" id="{E7C7A0B5-BFB5-4409-BD0B-0255B9069DDE}"/>
              </a:ext>
            </a:extLst>
          </p:cNvPr>
          <p:cNvSpPr txBox="1"/>
          <p:nvPr/>
        </p:nvSpPr>
        <p:spPr>
          <a:xfrm>
            <a:off x="235828" y="573606"/>
            <a:ext cx="3551701" cy="1329595"/>
          </a:xfrm>
          <a:prstGeom prst="rect">
            <a:avLst/>
          </a:prstGeom>
          <a:noFill/>
        </p:spPr>
        <p:txBody>
          <a:bodyPr wrap="square" lIns="0" tIns="0" rIns="0" bIns="0" rtlCol="0">
            <a:spAutoFit/>
          </a:bodyPr>
          <a:lstStyle/>
          <a:p>
            <a:pPr algn="ctr">
              <a:lnSpc>
                <a:spcPct val="80000"/>
              </a:lnSpc>
            </a:pPr>
            <a:r>
              <a:rPr lang="ru-RU" sz="5400" b="1" dirty="0" smtClean="0">
                <a:solidFill>
                  <a:schemeClr val="bg1"/>
                </a:solidFill>
                <a:latin typeface="Times New Roman" panose="02020603050405020304" pitchFamily="18" charset="0"/>
                <a:cs typeface="Times New Roman" panose="02020603050405020304" pitchFamily="18" charset="0"/>
              </a:rPr>
              <a:t>Спасибо за внимание!</a:t>
            </a:r>
            <a:endParaRPr lang="en-US" sz="5400" b="1" dirty="0">
              <a:solidFill>
                <a:schemeClr val="bg1"/>
              </a:solidFill>
              <a:latin typeface="Times New Roman" panose="02020603050405020304" pitchFamily="18" charset="0"/>
              <a:cs typeface="Times New Roman" panose="02020603050405020304" pitchFamily="18" charset="0"/>
            </a:endParaRPr>
          </a:p>
        </p:txBody>
      </p:sp>
      <p:pic>
        <p:nvPicPr>
          <p:cNvPr id="4" name="Рисунок 3"/>
          <p:cNvPicPr>
            <a:picLocks noChangeAspect="1"/>
          </p:cNvPicPr>
          <p:nvPr/>
        </p:nvPicPr>
        <p:blipFill rotWithShape="1">
          <a:blip r:embed="rId2">
            <a:extLst>
              <a:ext uri="{28A0092B-C50C-407E-A947-70E740481C1C}">
                <a14:useLocalDpi xmlns:a14="http://schemas.microsoft.com/office/drawing/2010/main" val="0"/>
              </a:ext>
            </a:extLst>
          </a:blip>
          <a:srcRect l="13027"/>
          <a:stretch/>
        </p:blipFill>
        <p:spPr>
          <a:xfrm>
            <a:off x="4023358" y="0"/>
            <a:ext cx="8168642" cy="6858000"/>
          </a:xfrm>
          <a:prstGeom prst="rect">
            <a:avLst/>
          </a:prstGeom>
        </p:spPr>
      </p:pic>
    </p:spTree>
    <p:extLst>
      <p:ext uri="{BB962C8B-B14F-4D97-AF65-F5344CB8AC3E}">
        <p14:creationId xmlns:p14="http://schemas.microsoft.com/office/powerpoint/2010/main" val="708489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5786095" cy="611188"/>
          </a:xfrm>
        </p:spPr>
        <p:txBody>
          <a:bodyPr>
            <a:noAutofit/>
          </a:bodyPr>
          <a:lstStyle/>
          <a:p>
            <a:r>
              <a:rPr lang="ru-RU" sz="5400" b="1" dirty="0" smtClean="0">
                <a:latin typeface="Times New Roman" panose="02020603050405020304" pitchFamily="18" charset="0"/>
                <a:cs typeface="Times New Roman" panose="02020603050405020304" pitchFamily="18" charset="0"/>
              </a:rPr>
              <a:t>Строение волоса</a:t>
            </a:r>
            <a:endParaRPr lang="ru-RU" sz="5400" b="1" dirty="0">
              <a:latin typeface="Times New Roman" panose="02020603050405020304" pitchFamily="18" charset="0"/>
              <a:cs typeface="Times New Roman" panose="02020603050405020304" pitchFamily="18" charset="0"/>
            </a:endParaRPr>
          </a:p>
        </p:txBody>
      </p:sp>
      <p:sp>
        <p:nvSpPr>
          <p:cNvPr id="4" name="Текст 3"/>
          <p:cNvSpPr>
            <a:spLocks noGrp="1"/>
          </p:cNvSpPr>
          <p:nvPr>
            <p:ph type="body" sz="half" idx="2"/>
          </p:nvPr>
        </p:nvSpPr>
        <p:spPr/>
        <p:txBody>
          <a:bodyPr/>
          <a:lstStyle/>
          <a:p>
            <a:pPr algn="ctr"/>
            <a:r>
              <a:rPr lang="ru-RU" sz="2800" dirty="0">
                <a:latin typeface="Times New Roman" panose="02020603050405020304" pitchFamily="18" charset="0"/>
                <a:cs typeface="Times New Roman" panose="02020603050405020304" pitchFamily="18" charset="0"/>
              </a:rPr>
              <a:t>Каждый волос на теле человека имеет одинаковое строение: он состоит из волосяного фолликула (он же – луковица), корневого влагалища, в котором спрятан фолликул, и стержня волоса.</a:t>
            </a:r>
          </a:p>
          <a:p>
            <a:endParaRPr lang="ru-RU" dirty="0"/>
          </a:p>
        </p:txBody>
      </p:sp>
      <p:sp>
        <p:nvSpPr>
          <p:cNvPr id="5" name="Rectangle 6">
            <a:extLst>
              <a:ext uri="{FF2B5EF4-FFF2-40B4-BE49-F238E27FC236}">
                <a16:creationId xmlns="" xmlns:a16="http://schemas.microsoft.com/office/drawing/2014/main" id="{B018D872-74EC-4C12-835A-5F484647A850}"/>
              </a:ext>
            </a:extLst>
          </p:cNvPr>
          <p:cNvSpPr/>
          <p:nvPr/>
        </p:nvSpPr>
        <p:spPr>
          <a:xfrm>
            <a:off x="14757" y="0"/>
            <a:ext cx="6780042" cy="6858000"/>
          </a:xfrm>
          <a:custGeom>
            <a:avLst/>
            <a:gdLst>
              <a:gd name="connsiteX0" fmla="*/ 0 w 6780042"/>
              <a:gd name="connsiteY0" fmla="*/ 0 h 6858000"/>
              <a:gd name="connsiteX1" fmla="*/ 6780042 w 6780042"/>
              <a:gd name="connsiteY1" fmla="*/ 0 h 6858000"/>
              <a:gd name="connsiteX2" fmla="*/ 6780042 w 6780042"/>
              <a:gd name="connsiteY2" fmla="*/ 6858000 h 6858000"/>
              <a:gd name="connsiteX3" fmla="*/ 0 w 6780042"/>
              <a:gd name="connsiteY3" fmla="*/ 6858000 h 6858000"/>
              <a:gd name="connsiteX4" fmla="*/ 0 w 6780042"/>
              <a:gd name="connsiteY4" fmla="*/ 0 h 6858000"/>
              <a:gd name="connsiteX0" fmla="*/ 0 w 6780042"/>
              <a:gd name="connsiteY0" fmla="*/ 0 h 6858000"/>
              <a:gd name="connsiteX1" fmla="*/ 2025162 w 6780042"/>
              <a:gd name="connsiteY1" fmla="*/ 4572000 h 6858000"/>
              <a:gd name="connsiteX2" fmla="*/ 6780042 w 6780042"/>
              <a:gd name="connsiteY2" fmla="*/ 6858000 h 6858000"/>
              <a:gd name="connsiteX3" fmla="*/ 0 w 6780042"/>
              <a:gd name="connsiteY3" fmla="*/ 6858000 h 6858000"/>
              <a:gd name="connsiteX4" fmla="*/ 0 w 6780042"/>
              <a:gd name="connsiteY4" fmla="*/ 0 h 6858000"/>
              <a:gd name="connsiteX0" fmla="*/ 0 w 6780042"/>
              <a:gd name="connsiteY0" fmla="*/ 0 h 6858000"/>
              <a:gd name="connsiteX1" fmla="*/ 2011095 w 6780042"/>
              <a:gd name="connsiteY1" fmla="*/ 4529797 h 6858000"/>
              <a:gd name="connsiteX2" fmla="*/ 6780042 w 6780042"/>
              <a:gd name="connsiteY2" fmla="*/ 6858000 h 6858000"/>
              <a:gd name="connsiteX3" fmla="*/ 0 w 6780042"/>
              <a:gd name="connsiteY3" fmla="*/ 6858000 h 6858000"/>
              <a:gd name="connsiteX4" fmla="*/ 0 w 6780042"/>
              <a:gd name="connsiteY4" fmla="*/ 0 h 6858000"/>
              <a:gd name="connsiteX0" fmla="*/ 0 w 6780042"/>
              <a:gd name="connsiteY0" fmla="*/ 0 h 6858000"/>
              <a:gd name="connsiteX1" fmla="*/ 533987 w 6780042"/>
              <a:gd name="connsiteY1" fmla="*/ 6274190 h 6858000"/>
              <a:gd name="connsiteX2" fmla="*/ 6780042 w 6780042"/>
              <a:gd name="connsiteY2" fmla="*/ 6858000 h 6858000"/>
              <a:gd name="connsiteX3" fmla="*/ 0 w 6780042"/>
              <a:gd name="connsiteY3" fmla="*/ 6858000 h 6858000"/>
              <a:gd name="connsiteX4" fmla="*/ 0 w 678004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0042" h="6858000">
                <a:moveTo>
                  <a:pt x="0" y="0"/>
                </a:moveTo>
                <a:lnTo>
                  <a:pt x="533987" y="6274190"/>
                </a:lnTo>
                <a:lnTo>
                  <a:pt x="6780042" y="6858000"/>
                </a:lnTo>
                <a:lnTo>
                  <a:pt x="0" y="6858000"/>
                </a:lnTo>
                <a:lnTo>
                  <a:pt x="0" y="0"/>
                </a:lnTo>
                <a:close/>
              </a:path>
            </a:pathLst>
          </a:custGeom>
          <a:solidFill>
            <a:srgbClr val="A53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6">
            <a:extLst>
              <a:ext uri="{FF2B5EF4-FFF2-40B4-BE49-F238E27FC236}">
                <a16:creationId xmlns="" xmlns:a16="http://schemas.microsoft.com/office/drawing/2014/main" id="{B018D872-74EC-4C12-835A-5F484647A850}"/>
              </a:ext>
            </a:extLst>
          </p:cNvPr>
          <p:cNvSpPr/>
          <p:nvPr/>
        </p:nvSpPr>
        <p:spPr>
          <a:xfrm rot="10800000">
            <a:off x="5411958" y="0"/>
            <a:ext cx="6822245" cy="6858000"/>
          </a:xfrm>
          <a:custGeom>
            <a:avLst/>
            <a:gdLst>
              <a:gd name="connsiteX0" fmla="*/ 0 w 6780042"/>
              <a:gd name="connsiteY0" fmla="*/ 0 h 6858000"/>
              <a:gd name="connsiteX1" fmla="*/ 6780042 w 6780042"/>
              <a:gd name="connsiteY1" fmla="*/ 0 h 6858000"/>
              <a:gd name="connsiteX2" fmla="*/ 6780042 w 6780042"/>
              <a:gd name="connsiteY2" fmla="*/ 6858000 h 6858000"/>
              <a:gd name="connsiteX3" fmla="*/ 0 w 6780042"/>
              <a:gd name="connsiteY3" fmla="*/ 6858000 h 6858000"/>
              <a:gd name="connsiteX4" fmla="*/ 0 w 6780042"/>
              <a:gd name="connsiteY4" fmla="*/ 0 h 6858000"/>
              <a:gd name="connsiteX0" fmla="*/ 0 w 6780042"/>
              <a:gd name="connsiteY0" fmla="*/ 0 h 6858000"/>
              <a:gd name="connsiteX1" fmla="*/ 2025162 w 6780042"/>
              <a:gd name="connsiteY1" fmla="*/ 4572000 h 6858000"/>
              <a:gd name="connsiteX2" fmla="*/ 6780042 w 6780042"/>
              <a:gd name="connsiteY2" fmla="*/ 6858000 h 6858000"/>
              <a:gd name="connsiteX3" fmla="*/ 0 w 6780042"/>
              <a:gd name="connsiteY3" fmla="*/ 6858000 h 6858000"/>
              <a:gd name="connsiteX4" fmla="*/ 0 w 6780042"/>
              <a:gd name="connsiteY4" fmla="*/ 0 h 6858000"/>
              <a:gd name="connsiteX0" fmla="*/ 0 w 6780042"/>
              <a:gd name="connsiteY0" fmla="*/ 0 h 6858000"/>
              <a:gd name="connsiteX1" fmla="*/ 2011095 w 6780042"/>
              <a:gd name="connsiteY1" fmla="*/ 4529797 h 6858000"/>
              <a:gd name="connsiteX2" fmla="*/ 6780042 w 6780042"/>
              <a:gd name="connsiteY2" fmla="*/ 6858000 h 6858000"/>
              <a:gd name="connsiteX3" fmla="*/ 0 w 6780042"/>
              <a:gd name="connsiteY3" fmla="*/ 6858000 h 6858000"/>
              <a:gd name="connsiteX4" fmla="*/ 0 w 6780042"/>
              <a:gd name="connsiteY4" fmla="*/ 0 h 6858000"/>
              <a:gd name="connsiteX0" fmla="*/ 3137095 w 6780042"/>
              <a:gd name="connsiteY0" fmla="*/ 0 h 6042074"/>
              <a:gd name="connsiteX1" fmla="*/ 2011095 w 6780042"/>
              <a:gd name="connsiteY1" fmla="*/ 3713871 h 6042074"/>
              <a:gd name="connsiteX2" fmla="*/ 6780042 w 6780042"/>
              <a:gd name="connsiteY2" fmla="*/ 6042074 h 6042074"/>
              <a:gd name="connsiteX3" fmla="*/ 0 w 6780042"/>
              <a:gd name="connsiteY3" fmla="*/ 6042074 h 6042074"/>
              <a:gd name="connsiteX4" fmla="*/ 3137095 w 6780042"/>
              <a:gd name="connsiteY4" fmla="*/ 0 h 6042074"/>
              <a:gd name="connsiteX0" fmla="*/ 0 w 6822245"/>
              <a:gd name="connsiteY0" fmla="*/ 0 h 6858000"/>
              <a:gd name="connsiteX1" fmla="*/ 2053298 w 6822245"/>
              <a:gd name="connsiteY1" fmla="*/ 4529797 h 6858000"/>
              <a:gd name="connsiteX2" fmla="*/ 6822245 w 6822245"/>
              <a:gd name="connsiteY2" fmla="*/ 6858000 h 6858000"/>
              <a:gd name="connsiteX3" fmla="*/ 42203 w 6822245"/>
              <a:gd name="connsiteY3" fmla="*/ 6858000 h 6858000"/>
              <a:gd name="connsiteX4" fmla="*/ 0 w 6822245"/>
              <a:gd name="connsiteY4" fmla="*/ 0 h 6858000"/>
              <a:gd name="connsiteX0" fmla="*/ 0 w 6822245"/>
              <a:gd name="connsiteY0" fmla="*/ 0 h 6858000"/>
              <a:gd name="connsiteX1" fmla="*/ 590258 w 6822245"/>
              <a:gd name="connsiteY1" fmla="*/ 6246056 h 6858000"/>
              <a:gd name="connsiteX2" fmla="*/ 6822245 w 6822245"/>
              <a:gd name="connsiteY2" fmla="*/ 6858000 h 6858000"/>
              <a:gd name="connsiteX3" fmla="*/ 42203 w 6822245"/>
              <a:gd name="connsiteY3" fmla="*/ 6858000 h 6858000"/>
              <a:gd name="connsiteX4" fmla="*/ 0 w 6822245"/>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22245" h="6858000">
                <a:moveTo>
                  <a:pt x="0" y="0"/>
                </a:moveTo>
                <a:lnTo>
                  <a:pt x="590258" y="6246056"/>
                </a:lnTo>
                <a:lnTo>
                  <a:pt x="6822245" y="6858000"/>
                </a:lnTo>
                <a:lnTo>
                  <a:pt x="42203" y="6858000"/>
                </a:lnTo>
                <a:lnTo>
                  <a:pt x="0" y="0"/>
                </a:lnTo>
                <a:close/>
              </a:path>
            </a:pathLst>
          </a:custGeom>
          <a:solidFill>
            <a:srgbClr val="A53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Объект 6" descr="Строение волоса Фото 1"/>
          <p:cNvPicPr>
            <a:picLocks noGrp="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5227638" y="928468"/>
            <a:ext cx="6083300" cy="5613009"/>
          </a:xfrm>
          <a:prstGeom prst="rect">
            <a:avLst/>
          </a:prstGeom>
          <a:noFill/>
          <a:ln>
            <a:noFill/>
          </a:ln>
        </p:spPr>
      </p:pic>
    </p:spTree>
    <p:extLst>
      <p:ext uri="{BB962C8B-B14F-4D97-AF65-F5344CB8AC3E}">
        <p14:creationId xmlns:p14="http://schemas.microsoft.com/office/powerpoint/2010/main" val="188502500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F3526FF6-93C0-4668-ABD6-DCA4644EF04B}"/>
              </a:ext>
            </a:extLst>
          </p:cNvPr>
          <p:cNvGraphicFramePr>
            <a:graphicFrameLocks noChangeAspect="1"/>
          </p:cNvGraphicFramePr>
          <p:nvPr>
            <p:custDataLst>
              <p:tags r:id="rId2"/>
            </p:custDataLst>
            <p:extLst>
              <p:ext uri="{D42A27DB-BD31-4B8C-83A1-F6EECF244321}">
                <p14:modId xmlns:p14="http://schemas.microsoft.com/office/powerpoint/2010/main" val="4252015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66" name="think-cell Slide" r:id="rId6" imgW="383" imgH="384" progId="TCLayout.ActiveDocument.1">
                  <p:embed/>
                </p:oleObj>
              </mc:Choice>
              <mc:Fallback>
                <p:oleObj name="think-cell Slide" r:id="rId6" imgW="383"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 xmlns:a16="http://schemas.microsoft.com/office/drawing/2014/main" id="{C19A566D-18C1-4C6E-9C31-C3ACFBB7A3B5}"/>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600" b="1" dirty="0">
              <a:latin typeface="Calibri" panose="020F0502020204030204" pitchFamily="34" charset="0"/>
              <a:ea typeface="+mj-ea"/>
              <a:cs typeface="+mj-cs"/>
              <a:sym typeface="Calibri" panose="020F0502020204030204" pitchFamily="34" charset="0"/>
            </a:endParaRPr>
          </a:p>
        </p:txBody>
      </p:sp>
      <p:sp>
        <p:nvSpPr>
          <p:cNvPr id="8" name="Title 7">
            <a:extLst>
              <a:ext uri="{FF2B5EF4-FFF2-40B4-BE49-F238E27FC236}">
                <a16:creationId xmlns="" xmlns:a16="http://schemas.microsoft.com/office/drawing/2014/main" id="{B62A1B46-EE91-4D85-9559-A03F29371123}"/>
              </a:ext>
            </a:extLst>
          </p:cNvPr>
          <p:cNvSpPr>
            <a:spLocks noGrp="1"/>
          </p:cNvSpPr>
          <p:nvPr>
            <p:ph type="title"/>
          </p:nvPr>
        </p:nvSpPr>
        <p:spPr>
          <a:xfrm>
            <a:off x="609600" y="365126"/>
            <a:ext cx="5889674" cy="775612"/>
          </a:xfrm>
        </p:spPr>
        <p:txBody>
          <a:bodyPr>
            <a:normAutofit fontScale="90000"/>
          </a:bodyPr>
          <a:lstStyle/>
          <a:p>
            <a:pPr algn="ctr"/>
            <a:r>
              <a:rPr lang="ru-RU" sz="5300" dirty="0" smtClean="0">
                <a:latin typeface="Times New Roman" panose="02020603050405020304" pitchFamily="18" charset="0"/>
                <a:cs typeface="Times New Roman" panose="02020603050405020304" pitchFamily="18" charset="0"/>
              </a:rPr>
              <a:t>Понятие волосяной луковицы</a:t>
            </a:r>
            <a:r>
              <a:rPr lang="ru-RU" dirty="0"/>
              <a:t/>
            </a:r>
            <a:br>
              <a:rPr lang="ru-RU" dirty="0"/>
            </a:br>
            <a:endParaRPr lang="en-US" dirty="0"/>
          </a:p>
        </p:txBody>
      </p:sp>
      <p:sp>
        <p:nvSpPr>
          <p:cNvPr id="25" name="Rectangle: Rounded Corners 24">
            <a:extLst>
              <a:ext uri="{FF2B5EF4-FFF2-40B4-BE49-F238E27FC236}">
                <a16:creationId xmlns="" xmlns:a16="http://schemas.microsoft.com/office/drawing/2014/main" id="{494E6301-EB23-4685-88EB-C44A54F0F7DD}"/>
              </a:ext>
            </a:extLst>
          </p:cNvPr>
          <p:cNvSpPr/>
          <p:nvPr/>
        </p:nvSpPr>
        <p:spPr>
          <a:xfrm>
            <a:off x="6223000" y="191839"/>
            <a:ext cx="4590128" cy="5207491"/>
          </a:xfrm>
          <a:prstGeom prst="roundRect">
            <a:avLst>
              <a:gd name="adj" fmla="val 6764"/>
            </a:avLst>
          </a:prstGeom>
          <a:solidFill>
            <a:srgbClr val="A539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9" name="TextBox 48">
            <a:extLst>
              <a:ext uri="{FF2B5EF4-FFF2-40B4-BE49-F238E27FC236}">
                <a16:creationId xmlns="" xmlns:a16="http://schemas.microsoft.com/office/drawing/2014/main" id="{088A9550-F038-4522-B957-33963EABE961}"/>
              </a:ext>
            </a:extLst>
          </p:cNvPr>
          <p:cNvSpPr txBox="1"/>
          <p:nvPr/>
        </p:nvSpPr>
        <p:spPr>
          <a:xfrm>
            <a:off x="511126" y="1329348"/>
            <a:ext cx="5613400" cy="4955203"/>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ru-RU" sz="2800" dirty="0" smtClean="0">
                <a:latin typeface="Times New Roman" panose="02020603050405020304" pitchFamily="18" charset="0"/>
                <a:cs typeface="Times New Roman" panose="02020603050405020304" pitchFamily="18" charset="0"/>
              </a:rPr>
              <a:t>Она </a:t>
            </a:r>
            <a:r>
              <a:rPr lang="ru-RU" sz="2800" dirty="0">
                <a:latin typeface="Times New Roman" panose="02020603050405020304" pitchFamily="18" charset="0"/>
                <a:cs typeface="Times New Roman" panose="02020603050405020304" pitchFamily="18" charset="0"/>
              </a:rPr>
              <a:t>представляет собой уплотнение стержня, в которое заключен волосяной сосочек – образование из соединительной ткани и сосудиков, через которые в волос поступают питательные вещества (протеины, липиды и аминокислоты).</a:t>
            </a:r>
          </a:p>
          <a:p>
            <a:pPr algn="ctr"/>
            <a:r>
              <a:rPr lang="ru-RU" sz="2800" dirty="0">
                <a:latin typeface="Times New Roman" panose="02020603050405020304" pitchFamily="18" charset="0"/>
                <a:cs typeface="Times New Roman" panose="02020603050405020304" pitchFamily="18" charset="0"/>
              </a:rPr>
              <a:t>В луковице спрятана и волосяная мышца, поднимающая стержень волоса и делающая прическу объемной.</a:t>
            </a:r>
          </a:p>
          <a:p>
            <a:endParaRPr lang="en-US" sz="1400" dirty="0"/>
          </a:p>
        </p:txBody>
      </p:sp>
      <p:sp>
        <p:nvSpPr>
          <p:cNvPr id="82" name="Rectangle 34">
            <a:extLst>
              <a:ext uri="{FF2B5EF4-FFF2-40B4-BE49-F238E27FC236}">
                <a16:creationId xmlns="" xmlns:a16="http://schemas.microsoft.com/office/drawing/2014/main" id="{95E76223-C7DF-44AE-AF5C-211291AB60BA}"/>
              </a:ext>
            </a:extLst>
          </p:cNvPr>
          <p:cNvSpPr/>
          <p:nvPr/>
        </p:nvSpPr>
        <p:spPr>
          <a:xfrm flipH="1" flipV="1">
            <a:off x="0" y="6184228"/>
            <a:ext cx="1952448" cy="673772"/>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solidFill>
            <a:srgbClr val="A53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Slide Number Placeholder 26">
            <a:extLst>
              <a:ext uri="{FF2B5EF4-FFF2-40B4-BE49-F238E27FC236}">
                <a16:creationId xmlns="" xmlns:a16="http://schemas.microsoft.com/office/drawing/2014/main" id="{25F1B77B-10A7-4E8F-9055-169B8B309C00}"/>
              </a:ext>
            </a:extLst>
          </p:cNvPr>
          <p:cNvSpPr>
            <a:spLocks noGrp="1"/>
          </p:cNvSpPr>
          <p:nvPr>
            <p:ph type="sldNum" sz="quarter" idx="4"/>
          </p:nvPr>
        </p:nvSpPr>
        <p:spPr>
          <a:xfrm>
            <a:off x="11661293" y="6284551"/>
            <a:ext cx="367408" cy="276999"/>
          </a:xfrm>
        </p:spPr>
        <p:txBody>
          <a:bodyPr/>
          <a:lstStyle/>
          <a:p>
            <a:fld id="{B84D2E29-67F4-44D8-B0E3-F54815B4F123}" type="slidenum">
              <a:rPr lang="en-US" smtClean="0"/>
              <a:pPr/>
              <a:t>3</a:t>
            </a:fld>
            <a:endParaRPr lang="en-US" dirty="0"/>
          </a:p>
        </p:txBody>
      </p:sp>
      <p:pic>
        <p:nvPicPr>
          <p:cNvPr id="2" name="Рисунок 1"/>
          <p:cNvPicPr>
            <a:picLocks noChangeAspect="1"/>
          </p:cNvPicPr>
          <p:nvPr/>
        </p:nvPicPr>
        <p:blipFill rotWithShape="1">
          <a:blip r:embed="rId8">
            <a:extLst>
              <a:ext uri="{28A0092B-C50C-407E-A947-70E740481C1C}">
                <a14:useLocalDpi xmlns:a14="http://schemas.microsoft.com/office/drawing/2010/main" val="0"/>
              </a:ext>
            </a:extLst>
          </a:blip>
          <a:srcRect l="22507" b="20170"/>
          <a:stretch/>
        </p:blipFill>
        <p:spPr>
          <a:xfrm>
            <a:off x="6696223" y="0"/>
            <a:ext cx="5106571" cy="5399330"/>
          </a:xfrm>
          <a:prstGeom prst="rect">
            <a:avLst/>
          </a:prstGeom>
        </p:spPr>
      </p:pic>
      <p:sp>
        <p:nvSpPr>
          <p:cNvPr id="14" name="Rectangle 6">
            <a:extLst>
              <a:ext uri="{FF2B5EF4-FFF2-40B4-BE49-F238E27FC236}">
                <a16:creationId xmlns="" xmlns:a16="http://schemas.microsoft.com/office/drawing/2014/main" id="{B018D872-74EC-4C12-835A-5F484647A850}"/>
              </a:ext>
            </a:extLst>
          </p:cNvPr>
          <p:cNvSpPr/>
          <p:nvPr/>
        </p:nvSpPr>
        <p:spPr>
          <a:xfrm rot="16200000">
            <a:off x="4309699" y="-1080575"/>
            <a:ext cx="6780042" cy="9097107"/>
          </a:xfrm>
          <a:custGeom>
            <a:avLst/>
            <a:gdLst>
              <a:gd name="connsiteX0" fmla="*/ 0 w 6780042"/>
              <a:gd name="connsiteY0" fmla="*/ 0 h 6858000"/>
              <a:gd name="connsiteX1" fmla="*/ 6780042 w 6780042"/>
              <a:gd name="connsiteY1" fmla="*/ 0 h 6858000"/>
              <a:gd name="connsiteX2" fmla="*/ 6780042 w 6780042"/>
              <a:gd name="connsiteY2" fmla="*/ 6858000 h 6858000"/>
              <a:gd name="connsiteX3" fmla="*/ 0 w 6780042"/>
              <a:gd name="connsiteY3" fmla="*/ 6858000 h 6858000"/>
              <a:gd name="connsiteX4" fmla="*/ 0 w 6780042"/>
              <a:gd name="connsiteY4" fmla="*/ 0 h 6858000"/>
              <a:gd name="connsiteX0" fmla="*/ 0 w 6780042"/>
              <a:gd name="connsiteY0" fmla="*/ 0 h 6858000"/>
              <a:gd name="connsiteX1" fmla="*/ 2025162 w 6780042"/>
              <a:gd name="connsiteY1" fmla="*/ 4572000 h 6858000"/>
              <a:gd name="connsiteX2" fmla="*/ 6780042 w 6780042"/>
              <a:gd name="connsiteY2" fmla="*/ 6858000 h 6858000"/>
              <a:gd name="connsiteX3" fmla="*/ 0 w 6780042"/>
              <a:gd name="connsiteY3" fmla="*/ 6858000 h 6858000"/>
              <a:gd name="connsiteX4" fmla="*/ 0 w 6780042"/>
              <a:gd name="connsiteY4" fmla="*/ 0 h 6858000"/>
              <a:gd name="connsiteX0" fmla="*/ 0 w 6780042"/>
              <a:gd name="connsiteY0" fmla="*/ 0 h 6858000"/>
              <a:gd name="connsiteX1" fmla="*/ 2011095 w 6780042"/>
              <a:gd name="connsiteY1" fmla="*/ 4529797 h 6858000"/>
              <a:gd name="connsiteX2" fmla="*/ 6780042 w 6780042"/>
              <a:gd name="connsiteY2" fmla="*/ 6858000 h 6858000"/>
              <a:gd name="connsiteX3" fmla="*/ 0 w 6780042"/>
              <a:gd name="connsiteY3" fmla="*/ 6858000 h 6858000"/>
              <a:gd name="connsiteX4" fmla="*/ 0 w 6780042"/>
              <a:gd name="connsiteY4" fmla="*/ 0 h 6858000"/>
              <a:gd name="connsiteX0" fmla="*/ 0 w 6780042"/>
              <a:gd name="connsiteY0" fmla="*/ 0 h 6858000"/>
              <a:gd name="connsiteX1" fmla="*/ 533987 w 6780042"/>
              <a:gd name="connsiteY1" fmla="*/ 6274190 h 6858000"/>
              <a:gd name="connsiteX2" fmla="*/ 6780042 w 6780042"/>
              <a:gd name="connsiteY2" fmla="*/ 6858000 h 6858000"/>
              <a:gd name="connsiteX3" fmla="*/ 0 w 6780042"/>
              <a:gd name="connsiteY3" fmla="*/ 6858000 h 6858000"/>
              <a:gd name="connsiteX4" fmla="*/ 0 w 678004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0042" h="6858000">
                <a:moveTo>
                  <a:pt x="0" y="0"/>
                </a:moveTo>
                <a:lnTo>
                  <a:pt x="533987" y="6274190"/>
                </a:lnTo>
                <a:lnTo>
                  <a:pt x="6780042" y="6858000"/>
                </a:lnTo>
                <a:lnTo>
                  <a:pt x="0" y="6858000"/>
                </a:lnTo>
                <a:lnTo>
                  <a:pt x="0" y="0"/>
                </a:lnTo>
                <a:close/>
              </a:path>
            </a:pathLst>
          </a:custGeom>
          <a:solidFill>
            <a:srgbClr val="A53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395851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 name="Rectangle 34">
            <a:extLst>
              <a:ext uri="{FF2B5EF4-FFF2-40B4-BE49-F238E27FC236}">
                <a16:creationId xmlns="" xmlns:a16="http://schemas.microsoft.com/office/drawing/2014/main" id="{D1F89E4E-E549-4B72-B0C1-B89855BD0328}"/>
              </a:ext>
            </a:extLst>
          </p:cNvPr>
          <p:cNvSpPr/>
          <p:nvPr/>
        </p:nvSpPr>
        <p:spPr>
          <a:xfrm flipH="1" flipV="1">
            <a:off x="-2" y="3554574"/>
            <a:ext cx="11487152" cy="3303426"/>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 name="connsiteX0" fmla="*/ 0 w 3479810"/>
              <a:gd name="connsiteY0" fmla="*/ 0 h 1207779"/>
              <a:gd name="connsiteX1" fmla="*/ 3479810 w 3479810"/>
              <a:gd name="connsiteY1" fmla="*/ 4553 h 1207779"/>
              <a:gd name="connsiteX2" fmla="*/ 3479810 w 3479810"/>
              <a:gd name="connsiteY2" fmla="*/ 1130405 h 1207779"/>
              <a:gd name="connsiteX3" fmla="*/ 2185493 w 3479810"/>
              <a:gd name="connsiteY3" fmla="*/ 775263 h 1207779"/>
              <a:gd name="connsiteX4" fmla="*/ 0 w 3479810"/>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9810" h="1207779">
                <a:moveTo>
                  <a:pt x="0" y="0"/>
                </a:moveTo>
                <a:lnTo>
                  <a:pt x="3479810" y="4553"/>
                </a:lnTo>
                <a:lnTo>
                  <a:pt x="3479810" y="1130405"/>
                </a:lnTo>
                <a:cubicBezTo>
                  <a:pt x="3479511" y="1433772"/>
                  <a:pt x="3448427" y="745115"/>
                  <a:pt x="2185493" y="775263"/>
                </a:cubicBezTo>
                <a:cubicBezTo>
                  <a:pt x="922559" y="805411"/>
                  <a:pt x="59199" y="93304"/>
                  <a:pt x="0" y="0"/>
                </a:cubicBezTo>
                <a:close/>
              </a:path>
            </a:pathLst>
          </a:custGeom>
          <a:solidFill>
            <a:srgbClr val="DBCBD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Slide Number Placeholder 3">
            <a:extLst>
              <a:ext uri="{FF2B5EF4-FFF2-40B4-BE49-F238E27FC236}">
                <a16:creationId xmlns="" xmlns:a16="http://schemas.microsoft.com/office/drawing/2014/main" id="{6CC4C589-D729-4B39-B788-06282CB68535}"/>
              </a:ext>
            </a:extLst>
          </p:cNvPr>
          <p:cNvSpPr>
            <a:spLocks noGrp="1"/>
          </p:cNvSpPr>
          <p:nvPr>
            <p:ph type="sldNum" sz="quarter" idx="4"/>
          </p:nvPr>
        </p:nvSpPr>
        <p:spPr/>
        <p:txBody>
          <a:bodyPr/>
          <a:lstStyle/>
          <a:p>
            <a:fld id="{B84D2E29-67F4-44D8-B0E3-F54815B4F123}" type="slidenum">
              <a:rPr lang="en-US" smtClean="0"/>
              <a:pPr/>
              <a:t>4</a:t>
            </a:fld>
            <a:endParaRPr lang="en-US" dirty="0"/>
          </a:p>
        </p:txBody>
      </p:sp>
      <p:sp>
        <p:nvSpPr>
          <p:cNvPr id="277" name="Freeform 104">
            <a:extLst>
              <a:ext uri="{FF2B5EF4-FFF2-40B4-BE49-F238E27FC236}">
                <a16:creationId xmlns="" xmlns:a16="http://schemas.microsoft.com/office/drawing/2014/main" id="{FA4E45B2-3D0D-4E4D-B26A-634429D8F186}"/>
              </a:ext>
            </a:extLst>
          </p:cNvPr>
          <p:cNvSpPr>
            <a:spLocks noEditPoints="1"/>
          </p:cNvSpPr>
          <p:nvPr/>
        </p:nvSpPr>
        <p:spPr bwMode="auto">
          <a:xfrm>
            <a:off x="5408090" y="5183478"/>
            <a:ext cx="670968" cy="673922"/>
          </a:xfrm>
          <a:custGeom>
            <a:avLst/>
            <a:gdLst>
              <a:gd name="T0" fmla="*/ 36 w 96"/>
              <a:gd name="T1" fmla="*/ 72 h 96"/>
              <a:gd name="T2" fmla="*/ 59 w 96"/>
              <a:gd name="T3" fmla="*/ 64 h 96"/>
              <a:gd name="T4" fmla="*/ 89 w 96"/>
              <a:gd name="T5" fmla="*/ 95 h 96"/>
              <a:gd name="T6" fmla="*/ 95 w 96"/>
              <a:gd name="T7" fmla="*/ 95 h 96"/>
              <a:gd name="T8" fmla="*/ 95 w 96"/>
              <a:gd name="T9" fmla="*/ 89 h 96"/>
              <a:gd name="T10" fmla="*/ 64 w 96"/>
              <a:gd name="T11" fmla="*/ 58 h 96"/>
              <a:gd name="T12" fmla="*/ 72 w 96"/>
              <a:gd name="T13" fmla="*/ 36 h 96"/>
              <a:gd name="T14" fmla="*/ 36 w 96"/>
              <a:gd name="T15" fmla="*/ 0 h 96"/>
              <a:gd name="T16" fmla="*/ 0 w 96"/>
              <a:gd name="T17" fmla="*/ 36 h 96"/>
              <a:gd name="T18" fmla="*/ 36 w 96"/>
              <a:gd name="T19" fmla="*/ 72 h 96"/>
              <a:gd name="T20" fmla="*/ 36 w 96"/>
              <a:gd name="T21" fmla="*/ 8 h 96"/>
              <a:gd name="T22" fmla="*/ 64 w 96"/>
              <a:gd name="T23" fmla="*/ 36 h 96"/>
              <a:gd name="T24" fmla="*/ 36 w 96"/>
              <a:gd name="T25" fmla="*/ 64 h 96"/>
              <a:gd name="T26" fmla="*/ 8 w 96"/>
              <a:gd name="T27" fmla="*/ 36 h 96"/>
              <a:gd name="T28" fmla="*/ 36 w 96"/>
              <a:gd name="T2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96">
                <a:moveTo>
                  <a:pt x="36" y="72"/>
                </a:moveTo>
                <a:cubicBezTo>
                  <a:pt x="45" y="72"/>
                  <a:pt x="52" y="69"/>
                  <a:pt x="59" y="64"/>
                </a:cubicBezTo>
                <a:cubicBezTo>
                  <a:pt x="89" y="95"/>
                  <a:pt x="89" y="95"/>
                  <a:pt x="89" y="95"/>
                </a:cubicBezTo>
                <a:cubicBezTo>
                  <a:pt x="91" y="96"/>
                  <a:pt x="93" y="96"/>
                  <a:pt x="95" y="95"/>
                </a:cubicBezTo>
                <a:cubicBezTo>
                  <a:pt x="96" y="93"/>
                  <a:pt x="96" y="91"/>
                  <a:pt x="95" y="89"/>
                </a:cubicBezTo>
                <a:cubicBezTo>
                  <a:pt x="64" y="58"/>
                  <a:pt x="64" y="58"/>
                  <a:pt x="64" y="58"/>
                </a:cubicBezTo>
                <a:cubicBezTo>
                  <a:pt x="69" y="52"/>
                  <a:pt x="72" y="44"/>
                  <a:pt x="72" y="36"/>
                </a:cubicBezTo>
                <a:cubicBezTo>
                  <a:pt x="72" y="16"/>
                  <a:pt x="56" y="0"/>
                  <a:pt x="36" y="0"/>
                </a:cubicBezTo>
                <a:cubicBezTo>
                  <a:pt x="16" y="0"/>
                  <a:pt x="0" y="16"/>
                  <a:pt x="0" y="36"/>
                </a:cubicBezTo>
                <a:cubicBezTo>
                  <a:pt x="0" y="56"/>
                  <a:pt x="16" y="72"/>
                  <a:pt x="36" y="72"/>
                </a:cubicBezTo>
                <a:close/>
                <a:moveTo>
                  <a:pt x="36" y="8"/>
                </a:moveTo>
                <a:cubicBezTo>
                  <a:pt x="51" y="8"/>
                  <a:pt x="64" y="21"/>
                  <a:pt x="64" y="36"/>
                </a:cubicBezTo>
                <a:cubicBezTo>
                  <a:pt x="64" y="51"/>
                  <a:pt x="51" y="64"/>
                  <a:pt x="36" y="64"/>
                </a:cubicBezTo>
                <a:cubicBezTo>
                  <a:pt x="21" y="64"/>
                  <a:pt x="8" y="51"/>
                  <a:pt x="8" y="36"/>
                </a:cubicBezTo>
                <a:cubicBezTo>
                  <a:pt x="8" y="21"/>
                  <a:pt x="21" y="8"/>
                  <a:pt x="36"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271" name="TextBox 50">
            <a:extLst>
              <a:ext uri="{FF2B5EF4-FFF2-40B4-BE49-F238E27FC236}">
                <a16:creationId xmlns="" xmlns:a16="http://schemas.microsoft.com/office/drawing/2014/main" id="{A1385CD9-64EE-4676-834D-93440187C740}"/>
              </a:ext>
            </a:extLst>
          </p:cNvPr>
          <p:cNvSpPr txBox="1"/>
          <p:nvPr/>
        </p:nvSpPr>
        <p:spPr>
          <a:xfrm>
            <a:off x="4811152" y="160727"/>
            <a:ext cx="7214868" cy="76944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ru-RU" sz="3200" b="1" dirty="0" smtClean="0">
                <a:latin typeface="Times New Roman" panose="02020603050405020304" pitchFamily="18" charset="0"/>
                <a:cs typeface="Times New Roman" panose="02020603050405020304" pitchFamily="18" charset="0"/>
              </a:rPr>
              <a:t>Понятие корневого влагалища волоса</a:t>
            </a:r>
            <a:endParaRPr lang="ru-RU" sz="3200" dirty="0">
              <a:latin typeface="Times New Roman" panose="02020603050405020304" pitchFamily="18" charset="0"/>
              <a:cs typeface="Times New Roman" panose="02020603050405020304" pitchFamily="18" charset="0"/>
            </a:endParaRPr>
          </a:p>
          <a:p>
            <a:endParaRPr lang="en-US" b="1" dirty="0"/>
          </a:p>
        </p:txBody>
      </p:sp>
      <p:sp>
        <p:nvSpPr>
          <p:cNvPr id="272" name="TextBox 50">
            <a:extLst>
              <a:ext uri="{FF2B5EF4-FFF2-40B4-BE49-F238E27FC236}">
                <a16:creationId xmlns="" xmlns:a16="http://schemas.microsoft.com/office/drawing/2014/main" id="{A1385CD9-64EE-4676-834D-93440187C740}"/>
              </a:ext>
            </a:extLst>
          </p:cNvPr>
          <p:cNvSpPr txBox="1"/>
          <p:nvPr/>
        </p:nvSpPr>
        <p:spPr>
          <a:xfrm>
            <a:off x="5336737" y="1432758"/>
            <a:ext cx="6150413" cy="4647426"/>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ru-RU" sz="2800" dirty="0" smtClean="0">
                <a:latin typeface="Times New Roman" panose="02020603050405020304" pitchFamily="18" charset="0"/>
                <a:cs typeface="Times New Roman" panose="02020603050405020304" pitchFamily="18" charset="0"/>
              </a:rPr>
              <a:t>Это </a:t>
            </a:r>
            <a:r>
              <a:rPr lang="ru-RU" sz="2800" dirty="0">
                <a:latin typeface="Times New Roman" panose="02020603050405020304" pitchFamily="18" charset="0"/>
                <a:cs typeface="Times New Roman" panose="02020603050405020304" pitchFamily="18" charset="0"/>
              </a:rPr>
              <a:t>оболочка волосяной луковицы, состоящая из эпителия – тонкого слоя кожи, тоже наполненного кровеносными сосудами. К нему крепятся сальные и потовые железы. Они создают на поверхности кожи вокруг волоса защитную пленку, не давая грязи попадать через отверстия для волос под эпителий.</a:t>
            </a:r>
          </a:p>
          <a:p>
            <a:pPr algn="ctr"/>
            <a:endParaRPr lang="ru-RU" sz="3200" dirty="0">
              <a:latin typeface="Times New Roman" panose="02020603050405020304" pitchFamily="18" charset="0"/>
              <a:cs typeface="Times New Roman" panose="02020603050405020304" pitchFamily="18" charset="0"/>
            </a:endParaRPr>
          </a:p>
          <a:p>
            <a:endParaRPr lang="en-US" b="1" dirty="0"/>
          </a:p>
        </p:txBody>
      </p:sp>
      <p:pic>
        <p:nvPicPr>
          <p:cNvPr id="3" name="Рисунок 2"/>
          <p:cNvPicPr>
            <a:picLocks noChangeAspect="1"/>
          </p:cNvPicPr>
          <p:nvPr/>
        </p:nvPicPr>
        <p:blipFill rotWithShape="1">
          <a:blip r:embed="rId3">
            <a:extLst>
              <a:ext uri="{28A0092B-C50C-407E-A947-70E740481C1C}">
                <a14:useLocalDpi xmlns:a14="http://schemas.microsoft.com/office/drawing/2010/main" val="0"/>
              </a:ext>
            </a:extLst>
          </a:blip>
          <a:srcRect l="10073"/>
          <a:stretch/>
        </p:blipFill>
        <p:spPr>
          <a:xfrm>
            <a:off x="400928" y="241159"/>
            <a:ext cx="4262497" cy="6267157"/>
          </a:xfrm>
          <a:prstGeom prst="rect">
            <a:avLst/>
          </a:prstGeom>
        </p:spPr>
      </p:pic>
      <p:sp>
        <p:nvSpPr>
          <p:cNvPr id="275" name="Rectangle 6">
            <a:extLst>
              <a:ext uri="{FF2B5EF4-FFF2-40B4-BE49-F238E27FC236}">
                <a16:creationId xmlns="" xmlns:a16="http://schemas.microsoft.com/office/drawing/2014/main" id="{B018D872-74EC-4C12-835A-5F484647A850}"/>
              </a:ext>
            </a:extLst>
          </p:cNvPr>
          <p:cNvSpPr/>
          <p:nvPr/>
        </p:nvSpPr>
        <p:spPr>
          <a:xfrm rot="16200000">
            <a:off x="4309699" y="-1080575"/>
            <a:ext cx="6780042" cy="9097107"/>
          </a:xfrm>
          <a:custGeom>
            <a:avLst/>
            <a:gdLst>
              <a:gd name="connsiteX0" fmla="*/ 0 w 6780042"/>
              <a:gd name="connsiteY0" fmla="*/ 0 h 6858000"/>
              <a:gd name="connsiteX1" fmla="*/ 6780042 w 6780042"/>
              <a:gd name="connsiteY1" fmla="*/ 0 h 6858000"/>
              <a:gd name="connsiteX2" fmla="*/ 6780042 w 6780042"/>
              <a:gd name="connsiteY2" fmla="*/ 6858000 h 6858000"/>
              <a:gd name="connsiteX3" fmla="*/ 0 w 6780042"/>
              <a:gd name="connsiteY3" fmla="*/ 6858000 h 6858000"/>
              <a:gd name="connsiteX4" fmla="*/ 0 w 6780042"/>
              <a:gd name="connsiteY4" fmla="*/ 0 h 6858000"/>
              <a:gd name="connsiteX0" fmla="*/ 0 w 6780042"/>
              <a:gd name="connsiteY0" fmla="*/ 0 h 6858000"/>
              <a:gd name="connsiteX1" fmla="*/ 2025162 w 6780042"/>
              <a:gd name="connsiteY1" fmla="*/ 4572000 h 6858000"/>
              <a:gd name="connsiteX2" fmla="*/ 6780042 w 6780042"/>
              <a:gd name="connsiteY2" fmla="*/ 6858000 h 6858000"/>
              <a:gd name="connsiteX3" fmla="*/ 0 w 6780042"/>
              <a:gd name="connsiteY3" fmla="*/ 6858000 h 6858000"/>
              <a:gd name="connsiteX4" fmla="*/ 0 w 6780042"/>
              <a:gd name="connsiteY4" fmla="*/ 0 h 6858000"/>
              <a:gd name="connsiteX0" fmla="*/ 0 w 6780042"/>
              <a:gd name="connsiteY0" fmla="*/ 0 h 6858000"/>
              <a:gd name="connsiteX1" fmla="*/ 2011095 w 6780042"/>
              <a:gd name="connsiteY1" fmla="*/ 4529797 h 6858000"/>
              <a:gd name="connsiteX2" fmla="*/ 6780042 w 6780042"/>
              <a:gd name="connsiteY2" fmla="*/ 6858000 h 6858000"/>
              <a:gd name="connsiteX3" fmla="*/ 0 w 6780042"/>
              <a:gd name="connsiteY3" fmla="*/ 6858000 h 6858000"/>
              <a:gd name="connsiteX4" fmla="*/ 0 w 6780042"/>
              <a:gd name="connsiteY4" fmla="*/ 0 h 6858000"/>
              <a:gd name="connsiteX0" fmla="*/ 0 w 6780042"/>
              <a:gd name="connsiteY0" fmla="*/ 0 h 6858000"/>
              <a:gd name="connsiteX1" fmla="*/ 533987 w 6780042"/>
              <a:gd name="connsiteY1" fmla="*/ 6274190 h 6858000"/>
              <a:gd name="connsiteX2" fmla="*/ 6780042 w 6780042"/>
              <a:gd name="connsiteY2" fmla="*/ 6858000 h 6858000"/>
              <a:gd name="connsiteX3" fmla="*/ 0 w 6780042"/>
              <a:gd name="connsiteY3" fmla="*/ 6858000 h 6858000"/>
              <a:gd name="connsiteX4" fmla="*/ 0 w 678004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0042" h="6858000">
                <a:moveTo>
                  <a:pt x="0" y="0"/>
                </a:moveTo>
                <a:lnTo>
                  <a:pt x="533987" y="6274190"/>
                </a:lnTo>
                <a:lnTo>
                  <a:pt x="6780042" y="6858000"/>
                </a:lnTo>
                <a:lnTo>
                  <a:pt x="0" y="6858000"/>
                </a:lnTo>
                <a:lnTo>
                  <a:pt x="0" y="0"/>
                </a:lnTo>
                <a:close/>
              </a:path>
            </a:pathLst>
          </a:custGeom>
          <a:solidFill>
            <a:srgbClr val="A53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795744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 name="Rectangle 121">
            <a:extLst>
              <a:ext uri="{FF2B5EF4-FFF2-40B4-BE49-F238E27FC236}">
                <a16:creationId xmlns="" xmlns:a16="http://schemas.microsoft.com/office/drawing/2014/main" id="{26519E81-C48F-4DC1-8447-5AA3137BE5EE}"/>
              </a:ext>
            </a:extLst>
          </p:cNvPr>
          <p:cNvSpPr/>
          <p:nvPr/>
        </p:nvSpPr>
        <p:spPr>
          <a:xfrm>
            <a:off x="6553200" y="0"/>
            <a:ext cx="5638800" cy="6850560"/>
          </a:xfrm>
          <a:prstGeom prst="rect">
            <a:avLst/>
          </a:prstGeom>
          <a:solidFill>
            <a:srgbClr val="DBCB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 xmlns:a16="http://schemas.microsoft.com/office/drawing/2014/main" id="{F4A23E82-4ADA-4290-A732-46C59CED37BE}"/>
              </a:ext>
            </a:extLst>
          </p:cNvPr>
          <p:cNvSpPr/>
          <p:nvPr/>
        </p:nvSpPr>
        <p:spPr>
          <a:xfrm>
            <a:off x="7115766" y="158713"/>
            <a:ext cx="4513667" cy="430887"/>
          </a:xfrm>
          <a:prstGeom prst="rect">
            <a:avLst/>
          </a:prstGeom>
        </p:spPr>
        <p:txBody>
          <a:bodyPr wrap="square" lIns="0" tIns="0" rIns="0" bIns="0">
            <a:spAutoFit/>
          </a:bodyPr>
          <a:lstStyle/>
          <a:p>
            <a:pPr algn="ctr" defTabSz="914377">
              <a:defRPr/>
            </a:pPr>
            <a:r>
              <a:rPr lang="ru-RU" sz="2800" b="1" dirty="0">
                <a:latin typeface="Times New Roman" panose="02020603050405020304" pitchFamily="18" charset="0"/>
                <a:cs typeface="Times New Roman" panose="02020603050405020304" pitchFamily="18" charset="0"/>
              </a:rPr>
              <a:t>Стержень </a:t>
            </a:r>
            <a:r>
              <a:rPr lang="ru-RU" sz="2800" b="1" dirty="0" smtClean="0">
                <a:latin typeface="Times New Roman" panose="02020603050405020304" pitchFamily="18" charset="0"/>
                <a:cs typeface="Times New Roman" panose="02020603050405020304" pitchFamily="18" charset="0"/>
              </a:rPr>
              <a:t>волоса</a:t>
            </a:r>
            <a:endParaRPr lang="ru-RU" sz="2800" dirty="0">
              <a:latin typeface="Times New Roman" panose="02020603050405020304" pitchFamily="18" charset="0"/>
              <a:cs typeface="Times New Roman" panose="02020603050405020304" pitchFamily="18" charset="0"/>
            </a:endParaRPr>
          </a:p>
        </p:txBody>
      </p:sp>
      <p:sp>
        <p:nvSpPr>
          <p:cNvPr id="25" name="Rectangle 24">
            <a:extLst>
              <a:ext uri="{FF2B5EF4-FFF2-40B4-BE49-F238E27FC236}">
                <a16:creationId xmlns="" xmlns:a16="http://schemas.microsoft.com/office/drawing/2014/main" id="{814E8360-63F3-4F18-817E-6FBC4551EF0D}"/>
              </a:ext>
            </a:extLst>
          </p:cNvPr>
          <p:cNvSpPr/>
          <p:nvPr/>
        </p:nvSpPr>
        <p:spPr>
          <a:xfrm>
            <a:off x="6968506" y="626956"/>
            <a:ext cx="4808186" cy="6370975"/>
          </a:xfrm>
          <a:prstGeom prst="rect">
            <a:avLst/>
          </a:prstGeom>
        </p:spPr>
        <p:txBody>
          <a:bodyPr wrap="square" lIns="0" tIns="0" rIns="0" bIns="0">
            <a:spAutoFit/>
          </a:bodyPr>
          <a:lstStyle/>
          <a:p>
            <a:r>
              <a:rPr lang="ru-RU" dirty="0" smtClean="0">
                <a:latin typeface="Times New Roman" panose="02020603050405020304" pitchFamily="18" charset="0"/>
                <a:cs typeface="Times New Roman" panose="02020603050405020304" pitchFamily="18" charset="0"/>
              </a:rPr>
              <a:t>Это </a:t>
            </a:r>
            <a:r>
              <a:rPr lang="ru-RU" dirty="0">
                <a:latin typeface="Times New Roman" panose="02020603050405020304" pitchFamily="18" charset="0"/>
                <a:cs typeface="Times New Roman" panose="02020603050405020304" pitchFamily="18" charset="0"/>
              </a:rPr>
              <a:t>видимая часть волоса, находящаяся выше уровня кожи. Стержень волоса имеет простое строение: </a:t>
            </a:r>
            <a:r>
              <a:rPr lang="ru-RU" dirty="0" err="1">
                <a:latin typeface="Times New Roman" panose="02020603050405020304" pitchFamily="18" charset="0"/>
                <a:cs typeface="Times New Roman" panose="02020603050405020304" pitchFamily="18" charset="0"/>
              </a:rPr>
              <a:t>медула</a:t>
            </a:r>
            <a:r>
              <a:rPr lang="ru-RU" dirty="0">
                <a:latin typeface="Times New Roman" panose="02020603050405020304" pitchFamily="18" charset="0"/>
                <a:cs typeface="Times New Roman" panose="02020603050405020304" pitchFamily="18" charset="0"/>
              </a:rPr>
              <a:t>, </a:t>
            </a:r>
            <a:r>
              <a:rPr lang="ru-RU" dirty="0" err="1">
                <a:latin typeface="Times New Roman" panose="02020603050405020304" pitchFamily="18" charset="0"/>
                <a:cs typeface="Times New Roman" panose="02020603050405020304" pitchFamily="18" charset="0"/>
              </a:rPr>
              <a:t>кортекс</a:t>
            </a:r>
            <a:r>
              <a:rPr lang="ru-RU" dirty="0">
                <a:latin typeface="Times New Roman" panose="02020603050405020304" pitchFamily="18" charset="0"/>
                <a:cs typeface="Times New Roman" panose="02020603050405020304" pitchFamily="18" charset="0"/>
              </a:rPr>
              <a:t> и кутикула.</a:t>
            </a:r>
          </a:p>
          <a:p>
            <a:pPr lvl="0"/>
            <a:r>
              <a:rPr lang="ru-RU" b="1" dirty="0" err="1">
                <a:latin typeface="Times New Roman" panose="02020603050405020304" pitchFamily="18" charset="0"/>
                <a:cs typeface="Times New Roman" panose="02020603050405020304" pitchFamily="18" charset="0"/>
              </a:rPr>
              <a:t>Медула</a:t>
            </a:r>
            <a:r>
              <a:rPr lang="ru-RU" b="1" dirty="0">
                <a:latin typeface="Times New Roman" panose="02020603050405020304" pitchFamily="18" charset="0"/>
                <a:cs typeface="Times New Roman" panose="02020603050405020304" pitchFamily="18" charset="0"/>
              </a:rPr>
              <a:t> </a:t>
            </a:r>
            <a:r>
              <a:rPr lang="ru-RU" dirty="0">
                <a:latin typeface="Times New Roman" panose="02020603050405020304" pitchFamily="18" charset="0"/>
                <a:cs typeface="Times New Roman" panose="02020603050405020304" pitchFamily="18" charset="0"/>
              </a:rPr>
              <a:t>– мозговое вещество, которое находится в середине волосяного стержня. Клетки мозгового вещества богаты воздухом и по нему поднимаются питательные вещества. </a:t>
            </a:r>
            <a:r>
              <a:rPr lang="ru-RU" dirty="0" err="1">
                <a:latin typeface="Times New Roman" panose="02020603050405020304" pitchFamily="18" charset="0"/>
                <a:cs typeface="Times New Roman" panose="02020603050405020304" pitchFamily="18" charset="0"/>
              </a:rPr>
              <a:t>Медула</a:t>
            </a:r>
            <a:r>
              <a:rPr lang="ru-RU" dirty="0">
                <a:latin typeface="Times New Roman" panose="02020603050405020304" pitchFamily="18" charset="0"/>
                <a:cs typeface="Times New Roman" panose="02020603050405020304" pitchFamily="18" charset="0"/>
              </a:rPr>
              <a:t> есть только в полностью сформированных волосах, а, например, в пушке на детской голове этого вещества нет. </a:t>
            </a:r>
          </a:p>
          <a:p>
            <a:pPr lvl="0"/>
            <a:r>
              <a:rPr lang="ru-RU" b="1" dirty="0" err="1" smtClean="0">
                <a:latin typeface="Times New Roman" panose="02020603050405020304" pitchFamily="18" charset="0"/>
                <a:cs typeface="Times New Roman" panose="02020603050405020304" pitchFamily="18" charset="0"/>
              </a:rPr>
              <a:t>Кортекс</a:t>
            </a:r>
            <a:r>
              <a:rPr lang="ru-RU" dirty="0" smtClean="0">
                <a:latin typeface="Times New Roman" panose="02020603050405020304" pitchFamily="18" charset="0"/>
                <a:cs typeface="Times New Roman" panose="02020603050405020304" pitchFamily="18" charset="0"/>
              </a:rPr>
              <a:t> </a:t>
            </a:r>
            <a:r>
              <a:rPr lang="ru-RU" dirty="0">
                <a:latin typeface="Times New Roman" panose="02020603050405020304" pitchFamily="18" charset="0"/>
                <a:cs typeface="Times New Roman" panose="02020603050405020304" pitchFamily="18" charset="0"/>
              </a:rPr>
              <a:t>– это основное вещество волоса, </a:t>
            </a:r>
            <a:r>
              <a:rPr lang="ru-RU" dirty="0" smtClean="0">
                <a:latin typeface="Times New Roman" panose="02020603050405020304" pitchFamily="18" charset="0"/>
                <a:cs typeface="Times New Roman" panose="02020603050405020304" pitchFamily="18" charset="0"/>
              </a:rPr>
              <a:t>которое </a:t>
            </a:r>
            <a:r>
              <a:rPr lang="ru-RU" dirty="0">
                <a:latin typeface="Times New Roman" panose="02020603050405020304" pitchFamily="18" charset="0"/>
                <a:cs typeface="Times New Roman" panose="02020603050405020304" pitchFamily="18" charset="0"/>
              </a:rPr>
              <a:t>занимает до 85% его объема. </a:t>
            </a:r>
            <a:r>
              <a:rPr lang="ru-RU" dirty="0" err="1">
                <a:latin typeface="Times New Roman" panose="02020603050405020304" pitchFamily="18" charset="0"/>
                <a:cs typeface="Times New Roman" panose="02020603050405020304" pitchFamily="18" charset="0"/>
              </a:rPr>
              <a:t>Кортекс</a:t>
            </a:r>
            <a:r>
              <a:rPr lang="ru-RU" dirty="0">
                <a:latin typeface="Times New Roman" panose="02020603050405020304" pitchFamily="18" charset="0"/>
                <a:cs typeface="Times New Roman" panose="02020603050405020304" pitchFamily="18" charset="0"/>
              </a:rPr>
              <a:t> состоит из двух веществ: кератина, из которого «строятся» волосы, и натурального пигмента меланина, отвечающего за цвет волос.</a:t>
            </a:r>
          </a:p>
          <a:p>
            <a:pPr lvl="0"/>
            <a:r>
              <a:rPr lang="ru-RU" b="1" dirty="0">
                <a:latin typeface="Times New Roman" panose="02020603050405020304" pitchFamily="18" charset="0"/>
                <a:cs typeface="Times New Roman" panose="02020603050405020304" pitchFamily="18" charset="0"/>
              </a:rPr>
              <a:t>Кутикула</a:t>
            </a:r>
            <a:r>
              <a:rPr lang="ru-RU" dirty="0">
                <a:latin typeface="Times New Roman" panose="02020603050405020304" pitchFamily="18" charset="0"/>
                <a:cs typeface="Times New Roman" panose="02020603050405020304" pitchFamily="18" charset="0"/>
              </a:rPr>
              <a:t> волоса состоит из 10 слоев плоских ороговевших клеток, расположенных наподобие черепицы и направленных к кончику волос. Кутикула придает волосу прочность. Ее целостность нарушается при химической завивке, при воздействии повышенной температуры и окраске.</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dirty="0">
              <a:ln>
                <a:noFill/>
              </a:ln>
              <a:solidFill>
                <a:srgbClr val="468DC3"/>
              </a:solidFill>
              <a:effectLst/>
              <a:uLnTx/>
              <a:uFillTx/>
              <a:latin typeface="Times New Roman" panose="02020603050405020304" pitchFamily="18" charset="0"/>
              <a:ea typeface="Open Sans" panose="020B0606030504020204" pitchFamily="34" charset="0"/>
              <a:cs typeface="Times New Roman" panose="02020603050405020304" pitchFamily="18" charset="0"/>
            </a:endParaRPr>
          </a:p>
        </p:txBody>
      </p:sp>
      <p:pic>
        <p:nvPicPr>
          <p:cNvPr id="28" name="Рисунок 27" descr="Строение волоса Фото 2"/>
          <p:cNvPicPr/>
          <p:nvPr/>
        </p:nvPicPr>
        <p:blipFill>
          <a:blip r:embed="rId2">
            <a:extLst>
              <a:ext uri="{28A0092B-C50C-407E-A947-70E740481C1C}">
                <a14:useLocalDpi xmlns:a14="http://schemas.microsoft.com/office/drawing/2010/main" val="0"/>
              </a:ext>
            </a:extLst>
          </a:blip>
          <a:srcRect/>
          <a:stretch>
            <a:fillRect/>
          </a:stretch>
        </p:blipFill>
        <p:spPr bwMode="auto">
          <a:xfrm>
            <a:off x="350884" y="374156"/>
            <a:ext cx="5921033" cy="6358597"/>
          </a:xfrm>
          <a:prstGeom prst="rect">
            <a:avLst/>
          </a:prstGeom>
          <a:noFill/>
          <a:ln>
            <a:noFill/>
          </a:ln>
        </p:spPr>
      </p:pic>
    </p:spTree>
    <p:extLst>
      <p:ext uri="{BB962C8B-B14F-4D97-AF65-F5344CB8AC3E}">
        <p14:creationId xmlns:p14="http://schemas.microsoft.com/office/powerpoint/2010/main" val="7174907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FFE696D-E3D3-4C12-958D-9FA7D03266E3}"/>
              </a:ext>
            </a:extLst>
          </p:cNvPr>
          <p:cNvSpPr>
            <a:spLocks noGrp="1"/>
          </p:cNvSpPr>
          <p:nvPr>
            <p:ph type="title"/>
          </p:nvPr>
        </p:nvSpPr>
        <p:spPr>
          <a:xfrm>
            <a:off x="609600" y="365126"/>
            <a:ext cx="6677465" cy="775612"/>
          </a:xfrm>
        </p:spPr>
        <p:txBody>
          <a:bodyPr>
            <a:normAutofit fontScale="90000"/>
          </a:bodyPr>
          <a:lstStyle/>
          <a:p>
            <a:pPr algn="ctr"/>
            <a:r>
              <a:rPr lang="ru-RU" sz="4400" dirty="0" smtClean="0">
                <a:latin typeface="Times New Roman" panose="02020603050405020304" pitchFamily="18" charset="0"/>
                <a:cs typeface="Times New Roman" panose="02020603050405020304" pitchFamily="18" charset="0"/>
              </a:rPr>
              <a:t>Как </a:t>
            </a:r>
            <a:r>
              <a:rPr lang="ru-RU" sz="4400" dirty="0">
                <a:latin typeface="Times New Roman" panose="02020603050405020304" pitchFamily="18" charset="0"/>
                <a:cs typeface="Times New Roman" panose="02020603050405020304" pitchFamily="18" charset="0"/>
              </a:rPr>
              <a:t>растет </a:t>
            </a:r>
            <a:r>
              <a:rPr lang="ru-RU" sz="4400" dirty="0" smtClean="0">
                <a:latin typeface="Times New Roman" panose="02020603050405020304" pitchFamily="18" charset="0"/>
                <a:cs typeface="Times New Roman" panose="02020603050405020304" pitchFamily="18" charset="0"/>
              </a:rPr>
              <a:t>волос человека</a:t>
            </a:r>
            <a:r>
              <a:rPr lang="ru-RU" dirty="0"/>
              <a:t/>
            </a:r>
            <a:br>
              <a:rPr lang="ru-RU" dirty="0"/>
            </a:br>
            <a:endParaRPr lang="en-US" dirty="0"/>
          </a:p>
        </p:txBody>
      </p:sp>
      <p:sp>
        <p:nvSpPr>
          <p:cNvPr id="4" name="Slide Number Placeholder 3">
            <a:extLst>
              <a:ext uri="{FF2B5EF4-FFF2-40B4-BE49-F238E27FC236}">
                <a16:creationId xmlns="" xmlns:a16="http://schemas.microsoft.com/office/drawing/2014/main" id="{BBA3E0C1-2193-468B-9D0E-F3697EDB27C8}"/>
              </a:ext>
            </a:extLst>
          </p:cNvPr>
          <p:cNvSpPr>
            <a:spLocks noGrp="1"/>
          </p:cNvSpPr>
          <p:nvPr>
            <p:ph type="sldNum" sz="quarter" idx="4"/>
          </p:nvPr>
        </p:nvSpPr>
        <p:spPr/>
        <p:txBody>
          <a:bodyPr/>
          <a:lstStyle/>
          <a:p>
            <a:fld id="{B84D2E29-67F4-44D8-B0E3-F54815B4F123}" type="slidenum">
              <a:rPr lang="en-US" smtClean="0"/>
              <a:pPr/>
              <a:t>6</a:t>
            </a:fld>
            <a:endParaRPr lang="en-US" dirty="0"/>
          </a:p>
        </p:txBody>
      </p:sp>
      <p:sp>
        <p:nvSpPr>
          <p:cNvPr id="5" name="Rectangle 4">
            <a:extLst>
              <a:ext uri="{FF2B5EF4-FFF2-40B4-BE49-F238E27FC236}">
                <a16:creationId xmlns="" xmlns:a16="http://schemas.microsoft.com/office/drawing/2014/main" id="{3F52CF61-077A-4E0F-9A15-475A68F79712}"/>
              </a:ext>
            </a:extLst>
          </p:cNvPr>
          <p:cNvSpPr/>
          <p:nvPr/>
        </p:nvSpPr>
        <p:spPr>
          <a:xfrm>
            <a:off x="616206" y="984737"/>
            <a:ext cx="7033458" cy="5385079"/>
          </a:xfrm>
          <a:prstGeom prst="rect">
            <a:avLst/>
          </a:prstGeom>
          <a:solidFill>
            <a:srgbClr val="DBCBD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Rectangle 34">
            <a:extLst>
              <a:ext uri="{FF2B5EF4-FFF2-40B4-BE49-F238E27FC236}">
                <a16:creationId xmlns="" xmlns:a16="http://schemas.microsoft.com/office/drawing/2014/main" id="{A322540C-0C4C-4027-9F35-788FABE150D7}"/>
              </a:ext>
            </a:extLst>
          </p:cNvPr>
          <p:cNvSpPr/>
          <p:nvPr/>
        </p:nvSpPr>
        <p:spPr>
          <a:xfrm flipH="1" flipV="1">
            <a:off x="18354" y="6253178"/>
            <a:ext cx="1952448" cy="673772"/>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solidFill>
            <a:srgbClr val="DBCB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 xmlns:a16="http://schemas.microsoft.com/office/drawing/2014/main" id="{15693BCE-BAC8-4F1C-9CE9-ABE2B81506E0}"/>
              </a:ext>
            </a:extLst>
          </p:cNvPr>
          <p:cNvSpPr/>
          <p:nvPr/>
        </p:nvSpPr>
        <p:spPr>
          <a:xfrm>
            <a:off x="773723" y="1092814"/>
            <a:ext cx="6786001" cy="50266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extBox 48">
            <a:extLst>
              <a:ext uri="{FF2B5EF4-FFF2-40B4-BE49-F238E27FC236}">
                <a16:creationId xmlns="" xmlns:a16="http://schemas.microsoft.com/office/drawing/2014/main" id="{A6F99CD6-019B-405E-8495-0A2DE544C2F1}"/>
              </a:ext>
            </a:extLst>
          </p:cNvPr>
          <p:cNvSpPr txBox="1"/>
          <p:nvPr/>
        </p:nvSpPr>
        <p:spPr>
          <a:xfrm>
            <a:off x="1346520" y="1617763"/>
            <a:ext cx="5828464" cy="4739759"/>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400" dirty="0" smtClean="0">
                <a:latin typeface="Times New Roman" panose="02020603050405020304" pitchFamily="18" charset="0"/>
                <a:cs typeface="Times New Roman" panose="02020603050405020304" pitchFamily="18" charset="0"/>
              </a:rPr>
              <a:t>Среднестатистическую </a:t>
            </a:r>
            <a:r>
              <a:rPr lang="ru-RU" sz="1400" dirty="0">
                <a:latin typeface="Times New Roman" panose="02020603050405020304" pitchFamily="18" charset="0"/>
                <a:cs typeface="Times New Roman" panose="02020603050405020304" pitchFamily="18" charset="0"/>
              </a:rPr>
              <a:t>голову украшают примерно 130 000 волос. В среднем один волос на нашей голове живет 2-5 лет. Каждый человек рождается с генетически заложенным количеством волосяных фолликулов, которое невозможно изменить. Каждый фолликул обладает собственной мускулатурой и иннервацией (связь с центральной нервной системой).</a:t>
            </a:r>
          </a:p>
          <a:p>
            <a:r>
              <a:rPr lang="ru-RU" sz="1400" dirty="0">
                <a:latin typeface="Times New Roman" panose="02020603050405020304" pitchFamily="18" charset="0"/>
                <a:cs typeface="Times New Roman" panose="02020603050405020304" pitchFamily="18" charset="0"/>
              </a:rPr>
              <a:t>Любой фолликул – это независимое образование, каждый волос имеет индивидуальное строение, развивается и растет. Именно поэтому процесс обновления локонов происходит незаметно.</a:t>
            </a:r>
          </a:p>
          <a:p>
            <a:r>
              <a:rPr lang="ru-RU" sz="1400" dirty="0">
                <a:latin typeface="Times New Roman" panose="02020603050405020304" pitchFamily="18" charset="0"/>
                <a:cs typeface="Times New Roman" panose="02020603050405020304" pitchFamily="18" charset="0"/>
              </a:rPr>
              <a:t>Рост и развитие волосяного фолликула могут подвергаться изменениям вследствие физического, химического воздействия извне либо при наличии определенных хронических заболеваний внутренних органов, либо кожи головы.</a:t>
            </a:r>
          </a:p>
          <a:p>
            <a:r>
              <a:rPr lang="ru-RU" sz="1400" dirty="0">
                <a:latin typeface="Times New Roman" panose="02020603050405020304" pitchFamily="18" charset="0"/>
                <a:cs typeface="Times New Roman" panose="02020603050405020304" pitchFamily="18" charset="0"/>
              </a:rPr>
              <a:t>Общее количество фолликул индивидуально. Например, у брюнетов волосяной покров составляет минимум 100 000 волосков, а у блондинов – более 150 000.</a:t>
            </a:r>
          </a:p>
          <a:p>
            <a:r>
              <a:rPr lang="ru-RU" sz="1400" dirty="0">
                <a:latin typeface="Times New Roman" panose="02020603050405020304" pitchFamily="18" charset="0"/>
                <a:cs typeface="Times New Roman" panose="02020603050405020304" pitchFamily="18" charset="0"/>
              </a:rPr>
              <a:t>В норме по разным данным в фазе роста (</a:t>
            </a:r>
            <a:r>
              <a:rPr lang="ru-RU" sz="1400" dirty="0" err="1">
                <a:latin typeface="Times New Roman" panose="02020603050405020304" pitchFamily="18" charset="0"/>
                <a:cs typeface="Times New Roman" panose="02020603050405020304" pitchFamily="18" charset="0"/>
              </a:rPr>
              <a:t>анаген</a:t>
            </a:r>
            <a:r>
              <a:rPr lang="ru-RU" sz="1400" dirty="0">
                <a:latin typeface="Times New Roman" panose="02020603050405020304" pitchFamily="18" charset="0"/>
                <a:cs typeface="Times New Roman" panose="02020603050405020304" pitchFamily="18" charset="0"/>
              </a:rPr>
              <a:t>) находятся 85% волосяных фолликулов, в фазе деградации (</a:t>
            </a:r>
            <a:r>
              <a:rPr lang="ru-RU" sz="1400" dirty="0" err="1">
                <a:latin typeface="Times New Roman" panose="02020603050405020304" pitchFamily="18" charset="0"/>
                <a:cs typeface="Times New Roman" panose="02020603050405020304" pitchFamily="18" charset="0"/>
              </a:rPr>
              <a:t>катаген</a:t>
            </a:r>
            <a:r>
              <a:rPr lang="ru-RU" sz="1400" dirty="0">
                <a:latin typeface="Times New Roman" panose="02020603050405020304" pitchFamily="18" charset="0"/>
                <a:cs typeface="Times New Roman" panose="02020603050405020304" pitchFamily="18" charset="0"/>
              </a:rPr>
              <a:t>) – 1% и в фазе отдыха (</a:t>
            </a:r>
            <a:r>
              <a:rPr lang="ru-RU" sz="1400" dirty="0" err="1">
                <a:latin typeface="Times New Roman" panose="02020603050405020304" pitchFamily="18" charset="0"/>
                <a:cs typeface="Times New Roman" panose="02020603050405020304" pitchFamily="18" charset="0"/>
              </a:rPr>
              <a:t>телоген</a:t>
            </a:r>
            <a:r>
              <a:rPr lang="ru-RU" sz="1400" dirty="0">
                <a:latin typeface="Times New Roman" panose="02020603050405020304" pitchFamily="18" charset="0"/>
                <a:cs typeface="Times New Roman" panose="02020603050405020304" pitchFamily="18" charset="0"/>
              </a:rPr>
              <a:t>) - 14%.</a:t>
            </a:r>
          </a:p>
          <a:p>
            <a:r>
              <a:rPr lang="ru-RU" sz="1400" dirty="0">
                <a:latin typeface="Times New Roman" panose="02020603050405020304" pitchFamily="18" charset="0"/>
                <a:cs typeface="Times New Roman" panose="02020603050405020304" pitchFamily="18" charset="0"/>
              </a:rPr>
              <a:t>Каждый день </a:t>
            </a:r>
            <a:r>
              <a:rPr lang="ru-RU" sz="1400" dirty="0" smtClean="0">
                <a:latin typeface="Times New Roman" panose="02020603050405020304" pitchFamily="18" charset="0"/>
                <a:cs typeface="Times New Roman" panose="02020603050405020304" pitchFamily="18" charset="0"/>
              </a:rPr>
              <a:t> </a:t>
            </a:r>
            <a:r>
              <a:rPr lang="ru-RU" sz="1400" dirty="0">
                <a:latin typeface="Times New Roman" panose="02020603050405020304" pitchFamily="18" charset="0"/>
                <a:cs typeface="Times New Roman" panose="02020603050405020304" pitchFamily="18" charset="0"/>
              </a:rPr>
              <a:t>с помощью шапок и расчесок </a:t>
            </a:r>
            <a:r>
              <a:rPr lang="ru-RU" sz="1400" dirty="0" smtClean="0">
                <a:latin typeface="Times New Roman" panose="02020603050405020304" pitchFamily="18" charset="0"/>
                <a:cs typeface="Times New Roman" panose="02020603050405020304" pitchFamily="18" charset="0"/>
              </a:rPr>
              <a:t>человек теряет </a:t>
            </a:r>
            <a:r>
              <a:rPr lang="ru-RU" sz="1400" dirty="0">
                <a:latin typeface="Times New Roman" panose="02020603050405020304" pitchFamily="18" charset="0"/>
                <a:cs typeface="Times New Roman" panose="02020603050405020304" pitchFamily="18" charset="0"/>
              </a:rPr>
              <a:t>50-80 </a:t>
            </a:r>
            <a:r>
              <a:rPr lang="ru-RU" sz="1400" dirty="0" err="1">
                <a:latin typeface="Times New Roman" panose="02020603050405020304" pitchFamily="18" charset="0"/>
                <a:cs typeface="Times New Roman" panose="02020603050405020304" pitchFamily="18" charset="0"/>
              </a:rPr>
              <a:t>телогенных</a:t>
            </a:r>
            <a:r>
              <a:rPr lang="ru-RU" sz="1400" dirty="0">
                <a:latin typeface="Times New Roman" panose="02020603050405020304" pitchFamily="18" charset="0"/>
                <a:cs typeface="Times New Roman" panose="02020603050405020304" pitchFamily="18" charset="0"/>
              </a:rPr>
              <a:t> волос. Это абсолютно нормально. При потере 100 и более волос в день речь идет уже об интенсивном выпадении, которое требует лечения.</a:t>
            </a:r>
          </a:p>
          <a:p>
            <a:endParaRPr lang="en-US" sz="1400" dirty="0"/>
          </a:p>
        </p:txBody>
      </p:sp>
      <p:sp>
        <p:nvSpPr>
          <p:cNvPr id="54" name="Isosceles Triangle 53">
            <a:extLst>
              <a:ext uri="{FF2B5EF4-FFF2-40B4-BE49-F238E27FC236}">
                <a16:creationId xmlns="" xmlns:a16="http://schemas.microsoft.com/office/drawing/2014/main" id="{8952F3DF-411E-4994-B7A6-F24CDDE92036}"/>
              </a:ext>
            </a:extLst>
          </p:cNvPr>
          <p:cNvSpPr/>
          <p:nvPr/>
        </p:nvSpPr>
        <p:spPr>
          <a:xfrm rot="10800000">
            <a:off x="994578" y="1288385"/>
            <a:ext cx="312420" cy="155028"/>
          </a:xfrm>
          <a:prstGeom prst="triangle">
            <a:avLst/>
          </a:prstGeom>
          <a:solidFill>
            <a:srgbClr val="A53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Isosceles Triangle 54">
            <a:extLst>
              <a:ext uri="{FF2B5EF4-FFF2-40B4-BE49-F238E27FC236}">
                <a16:creationId xmlns="" xmlns:a16="http://schemas.microsoft.com/office/drawing/2014/main" id="{9751F826-2C3F-4C32-8727-2D308B3FEF6A}"/>
              </a:ext>
            </a:extLst>
          </p:cNvPr>
          <p:cNvSpPr/>
          <p:nvPr/>
        </p:nvSpPr>
        <p:spPr>
          <a:xfrm rot="10800000">
            <a:off x="3948332" y="1203363"/>
            <a:ext cx="312420" cy="155028"/>
          </a:xfrm>
          <a:prstGeom prst="triangle">
            <a:avLst/>
          </a:prstGeom>
          <a:solidFill>
            <a:srgbClr val="A53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Isosceles Triangle 55">
            <a:extLst>
              <a:ext uri="{FF2B5EF4-FFF2-40B4-BE49-F238E27FC236}">
                <a16:creationId xmlns="" xmlns:a16="http://schemas.microsoft.com/office/drawing/2014/main" id="{0F270C2C-2BB3-432F-9EA3-2D2E1558DAA0}"/>
              </a:ext>
            </a:extLst>
          </p:cNvPr>
          <p:cNvSpPr/>
          <p:nvPr/>
        </p:nvSpPr>
        <p:spPr>
          <a:xfrm rot="10800000">
            <a:off x="6688828" y="1245082"/>
            <a:ext cx="312420" cy="155028"/>
          </a:xfrm>
          <a:prstGeom prst="triangle">
            <a:avLst/>
          </a:prstGeom>
          <a:solidFill>
            <a:srgbClr val="A53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Рисунок 2"/>
          <p:cNvPicPr>
            <a:picLocks noChangeAspect="1"/>
          </p:cNvPicPr>
          <p:nvPr/>
        </p:nvPicPr>
        <p:blipFill rotWithShape="1">
          <a:blip r:embed="rId3">
            <a:extLst>
              <a:ext uri="{28A0092B-C50C-407E-A947-70E740481C1C}">
                <a14:useLocalDpi xmlns:a14="http://schemas.microsoft.com/office/drawing/2010/main" val="0"/>
              </a:ext>
            </a:extLst>
          </a:blip>
          <a:srcRect r="32818"/>
          <a:stretch/>
        </p:blipFill>
        <p:spPr>
          <a:xfrm>
            <a:off x="7782195" y="752932"/>
            <a:ext cx="4266569" cy="5494910"/>
          </a:xfrm>
          <a:prstGeom prst="rect">
            <a:avLst/>
          </a:prstGeom>
        </p:spPr>
      </p:pic>
      <p:sp>
        <p:nvSpPr>
          <p:cNvPr id="32" name="Rectangle 6">
            <a:extLst>
              <a:ext uri="{FF2B5EF4-FFF2-40B4-BE49-F238E27FC236}">
                <a16:creationId xmlns="" xmlns:a16="http://schemas.microsoft.com/office/drawing/2014/main" id="{B018D872-74EC-4C12-835A-5F484647A850}"/>
              </a:ext>
            </a:extLst>
          </p:cNvPr>
          <p:cNvSpPr/>
          <p:nvPr/>
        </p:nvSpPr>
        <p:spPr>
          <a:xfrm rot="16200000">
            <a:off x="4309699" y="-1080575"/>
            <a:ext cx="6780042" cy="9097107"/>
          </a:xfrm>
          <a:custGeom>
            <a:avLst/>
            <a:gdLst>
              <a:gd name="connsiteX0" fmla="*/ 0 w 6780042"/>
              <a:gd name="connsiteY0" fmla="*/ 0 h 6858000"/>
              <a:gd name="connsiteX1" fmla="*/ 6780042 w 6780042"/>
              <a:gd name="connsiteY1" fmla="*/ 0 h 6858000"/>
              <a:gd name="connsiteX2" fmla="*/ 6780042 w 6780042"/>
              <a:gd name="connsiteY2" fmla="*/ 6858000 h 6858000"/>
              <a:gd name="connsiteX3" fmla="*/ 0 w 6780042"/>
              <a:gd name="connsiteY3" fmla="*/ 6858000 h 6858000"/>
              <a:gd name="connsiteX4" fmla="*/ 0 w 6780042"/>
              <a:gd name="connsiteY4" fmla="*/ 0 h 6858000"/>
              <a:gd name="connsiteX0" fmla="*/ 0 w 6780042"/>
              <a:gd name="connsiteY0" fmla="*/ 0 h 6858000"/>
              <a:gd name="connsiteX1" fmla="*/ 2025162 w 6780042"/>
              <a:gd name="connsiteY1" fmla="*/ 4572000 h 6858000"/>
              <a:gd name="connsiteX2" fmla="*/ 6780042 w 6780042"/>
              <a:gd name="connsiteY2" fmla="*/ 6858000 h 6858000"/>
              <a:gd name="connsiteX3" fmla="*/ 0 w 6780042"/>
              <a:gd name="connsiteY3" fmla="*/ 6858000 h 6858000"/>
              <a:gd name="connsiteX4" fmla="*/ 0 w 6780042"/>
              <a:gd name="connsiteY4" fmla="*/ 0 h 6858000"/>
              <a:gd name="connsiteX0" fmla="*/ 0 w 6780042"/>
              <a:gd name="connsiteY0" fmla="*/ 0 h 6858000"/>
              <a:gd name="connsiteX1" fmla="*/ 2011095 w 6780042"/>
              <a:gd name="connsiteY1" fmla="*/ 4529797 h 6858000"/>
              <a:gd name="connsiteX2" fmla="*/ 6780042 w 6780042"/>
              <a:gd name="connsiteY2" fmla="*/ 6858000 h 6858000"/>
              <a:gd name="connsiteX3" fmla="*/ 0 w 6780042"/>
              <a:gd name="connsiteY3" fmla="*/ 6858000 h 6858000"/>
              <a:gd name="connsiteX4" fmla="*/ 0 w 6780042"/>
              <a:gd name="connsiteY4" fmla="*/ 0 h 6858000"/>
              <a:gd name="connsiteX0" fmla="*/ 0 w 6780042"/>
              <a:gd name="connsiteY0" fmla="*/ 0 h 6858000"/>
              <a:gd name="connsiteX1" fmla="*/ 533987 w 6780042"/>
              <a:gd name="connsiteY1" fmla="*/ 6274190 h 6858000"/>
              <a:gd name="connsiteX2" fmla="*/ 6780042 w 6780042"/>
              <a:gd name="connsiteY2" fmla="*/ 6858000 h 6858000"/>
              <a:gd name="connsiteX3" fmla="*/ 0 w 6780042"/>
              <a:gd name="connsiteY3" fmla="*/ 6858000 h 6858000"/>
              <a:gd name="connsiteX4" fmla="*/ 0 w 678004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0042" h="6858000">
                <a:moveTo>
                  <a:pt x="0" y="0"/>
                </a:moveTo>
                <a:lnTo>
                  <a:pt x="533987" y="6274190"/>
                </a:lnTo>
                <a:lnTo>
                  <a:pt x="6780042" y="6858000"/>
                </a:lnTo>
                <a:lnTo>
                  <a:pt x="0" y="6858000"/>
                </a:lnTo>
                <a:lnTo>
                  <a:pt x="0" y="0"/>
                </a:lnTo>
                <a:close/>
              </a:path>
            </a:pathLst>
          </a:custGeom>
          <a:solidFill>
            <a:srgbClr val="A53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4987010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reeform: Shape 56">
            <a:extLst>
              <a:ext uri="{FF2B5EF4-FFF2-40B4-BE49-F238E27FC236}">
                <a16:creationId xmlns="" xmlns:a16="http://schemas.microsoft.com/office/drawing/2014/main" id="{E98BAF20-4A16-447D-82AF-B00D74FDE7E9}"/>
              </a:ext>
            </a:extLst>
          </p:cNvPr>
          <p:cNvSpPr/>
          <p:nvPr/>
        </p:nvSpPr>
        <p:spPr>
          <a:xfrm flipV="1">
            <a:off x="-27832" y="6007100"/>
            <a:ext cx="1184981" cy="849168"/>
          </a:xfrm>
          <a:custGeom>
            <a:avLst/>
            <a:gdLst>
              <a:gd name="connsiteX0" fmla="*/ 1176592 w 1184981"/>
              <a:gd name="connsiteY0" fmla="*/ 849112 h 849168"/>
              <a:gd name="connsiteX1" fmla="*/ 1184981 w 1184981"/>
              <a:gd name="connsiteY1" fmla="*/ 794657 h 849168"/>
              <a:gd name="connsiteX2" fmla="*/ 1184981 w 1184981"/>
              <a:gd name="connsiteY2" fmla="*/ 1476 h 849168"/>
              <a:gd name="connsiteX3" fmla="*/ 0 w 1184981"/>
              <a:gd name="connsiteY3" fmla="*/ 0 h 849168"/>
              <a:gd name="connsiteX4" fmla="*/ 0 w 1184981"/>
              <a:gd name="connsiteY4" fmla="*/ 544469 h 849168"/>
              <a:gd name="connsiteX5" fmla="*/ 59549 w 1184981"/>
              <a:gd name="connsiteY5" fmla="*/ 545886 h 849168"/>
              <a:gd name="connsiteX6" fmla="*/ 226860 w 1184981"/>
              <a:gd name="connsiteY6" fmla="*/ 544454 h 849168"/>
              <a:gd name="connsiteX7" fmla="*/ 1176592 w 1184981"/>
              <a:gd name="connsiteY7" fmla="*/ 849112 h 849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4981" h="849168">
                <a:moveTo>
                  <a:pt x="1176592" y="849112"/>
                </a:moveTo>
                <a:cubicBezTo>
                  <a:pt x="1184097" y="850234"/>
                  <a:pt x="1184940" y="834731"/>
                  <a:pt x="1184981" y="794657"/>
                </a:cubicBezTo>
                <a:lnTo>
                  <a:pt x="1184981" y="1476"/>
                </a:lnTo>
                <a:lnTo>
                  <a:pt x="0" y="0"/>
                </a:lnTo>
                <a:lnTo>
                  <a:pt x="0" y="544469"/>
                </a:lnTo>
                <a:lnTo>
                  <a:pt x="59549" y="545886"/>
                </a:lnTo>
                <a:cubicBezTo>
                  <a:pt x="112733" y="546255"/>
                  <a:pt x="168429" y="545781"/>
                  <a:pt x="226860" y="544454"/>
                </a:cubicBezTo>
                <a:cubicBezTo>
                  <a:pt x="986458" y="527196"/>
                  <a:pt x="1144073" y="844249"/>
                  <a:pt x="1176592" y="849112"/>
                </a:cubicBezTo>
                <a:close/>
              </a:path>
            </a:pathLst>
          </a:custGeom>
          <a:solidFill>
            <a:srgbClr val="A53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34">
            <a:extLst>
              <a:ext uri="{FF2B5EF4-FFF2-40B4-BE49-F238E27FC236}">
                <a16:creationId xmlns="" xmlns:a16="http://schemas.microsoft.com/office/drawing/2014/main" id="{155DC282-20F4-415C-BFD1-CC8145E87C90}"/>
              </a:ext>
            </a:extLst>
          </p:cNvPr>
          <p:cNvSpPr/>
          <p:nvPr/>
        </p:nvSpPr>
        <p:spPr>
          <a:xfrm flipH="1" flipV="1">
            <a:off x="3695700" y="6007100"/>
            <a:ext cx="2575938" cy="850900"/>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 name="connsiteX0" fmla="*/ 0 w 3479810"/>
              <a:gd name="connsiteY0" fmla="*/ 0 h 1207779"/>
              <a:gd name="connsiteX1" fmla="*/ 3479810 w 3479810"/>
              <a:gd name="connsiteY1" fmla="*/ 4553 h 1207779"/>
              <a:gd name="connsiteX2" fmla="*/ 3479810 w 3479810"/>
              <a:gd name="connsiteY2" fmla="*/ 1130405 h 1207779"/>
              <a:gd name="connsiteX3" fmla="*/ 2185493 w 3479810"/>
              <a:gd name="connsiteY3" fmla="*/ 775263 h 1207779"/>
              <a:gd name="connsiteX4" fmla="*/ 0 w 3479810"/>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9810" h="1207779">
                <a:moveTo>
                  <a:pt x="0" y="0"/>
                </a:moveTo>
                <a:lnTo>
                  <a:pt x="3479810" y="4553"/>
                </a:lnTo>
                <a:lnTo>
                  <a:pt x="3479810" y="1130405"/>
                </a:lnTo>
                <a:cubicBezTo>
                  <a:pt x="3479511" y="1433772"/>
                  <a:pt x="3448427" y="745115"/>
                  <a:pt x="2185493" y="775263"/>
                </a:cubicBezTo>
                <a:cubicBezTo>
                  <a:pt x="922559" y="805411"/>
                  <a:pt x="605342" y="525332"/>
                  <a:pt x="0" y="0"/>
                </a:cubicBezTo>
                <a:close/>
              </a:path>
            </a:pathLst>
          </a:custGeom>
          <a:solidFill>
            <a:srgbClr val="A53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 xmlns:a16="http://schemas.microsoft.com/office/drawing/2014/main" id="{9BA8C45E-8FA0-4167-B280-478FCF9C9782}"/>
              </a:ext>
            </a:extLst>
          </p:cNvPr>
          <p:cNvSpPr/>
          <p:nvPr/>
        </p:nvSpPr>
        <p:spPr>
          <a:xfrm>
            <a:off x="2851355" y="230000"/>
            <a:ext cx="9350477" cy="845574"/>
          </a:xfrm>
          <a:prstGeom prst="rect">
            <a:avLst/>
          </a:prstGeom>
          <a:solidFill>
            <a:srgbClr val="DBCBD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 xmlns:a16="http://schemas.microsoft.com/office/drawing/2014/main" id="{41DFA55B-06B3-4979-8714-3ECB2AA1DAC5}"/>
              </a:ext>
            </a:extLst>
          </p:cNvPr>
          <p:cNvSpPr>
            <a:spLocks noGrp="1"/>
          </p:cNvSpPr>
          <p:nvPr>
            <p:ph type="title"/>
          </p:nvPr>
        </p:nvSpPr>
        <p:spPr>
          <a:xfrm>
            <a:off x="4060682" y="238441"/>
            <a:ext cx="4965291" cy="775612"/>
          </a:xfrm>
        </p:spPr>
        <p:txBody>
          <a:bodyPr>
            <a:normAutofit/>
          </a:bodyPr>
          <a:lstStyle/>
          <a:p>
            <a:pPr algn="ctr"/>
            <a:r>
              <a:rPr lang="ru-RU" dirty="0" smtClean="0">
                <a:solidFill>
                  <a:schemeClr val="bg1"/>
                </a:solidFill>
                <a:latin typeface="Times New Roman" panose="02020603050405020304" pitchFamily="18" charset="0"/>
                <a:cs typeface="Times New Roman" panose="02020603050405020304" pitchFamily="18" charset="0"/>
              </a:rPr>
              <a:t>Стадии роста волос</a:t>
            </a:r>
            <a:endParaRPr lang="en-US" dirty="0">
              <a:solidFill>
                <a:schemeClr val="bg1"/>
              </a:solidFill>
              <a:latin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 xmlns:a16="http://schemas.microsoft.com/office/drawing/2014/main" id="{353CD5F5-799E-4D89-82A7-3A5DDDC6FCCA}"/>
              </a:ext>
            </a:extLst>
          </p:cNvPr>
          <p:cNvSpPr>
            <a:spLocks noGrp="1"/>
          </p:cNvSpPr>
          <p:nvPr>
            <p:ph type="sldNum" sz="quarter" idx="4"/>
          </p:nvPr>
        </p:nvSpPr>
        <p:spPr/>
        <p:txBody>
          <a:bodyPr/>
          <a:lstStyle/>
          <a:p>
            <a:fld id="{B84D2E29-67F4-44D8-B0E3-F54815B4F123}" type="slidenum">
              <a:rPr lang="en-US" smtClean="0"/>
              <a:pPr/>
              <a:t>7</a:t>
            </a:fld>
            <a:endParaRPr lang="en-US" dirty="0"/>
          </a:p>
        </p:txBody>
      </p:sp>
      <p:grpSp>
        <p:nvGrpSpPr>
          <p:cNvPr id="8" name="Group 7">
            <a:extLst>
              <a:ext uri="{FF2B5EF4-FFF2-40B4-BE49-F238E27FC236}">
                <a16:creationId xmlns="" xmlns:a16="http://schemas.microsoft.com/office/drawing/2014/main" id="{23AF1DA8-2D4F-48A8-9C59-2ABC51E61DA0}"/>
              </a:ext>
            </a:extLst>
          </p:cNvPr>
          <p:cNvGrpSpPr/>
          <p:nvPr/>
        </p:nvGrpSpPr>
        <p:grpSpPr>
          <a:xfrm>
            <a:off x="10938280" y="477715"/>
            <a:ext cx="489458" cy="491614"/>
            <a:chOff x="9161463" y="2163763"/>
            <a:chExt cx="360363" cy="361950"/>
          </a:xfrm>
          <a:solidFill>
            <a:schemeClr val="bg1"/>
          </a:solidFill>
        </p:grpSpPr>
        <p:sp>
          <p:nvSpPr>
            <p:cNvPr id="9" name="Freeform 65">
              <a:extLst>
                <a:ext uri="{FF2B5EF4-FFF2-40B4-BE49-F238E27FC236}">
                  <a16:creationId xmlns="" xmlns:a16="http://schemas.microsoft.com/office/drawing/2014/main" id="{B8139E16-D857-4A41-AAB5-B9BAC40B318D}"/>
                </a:ext>
              </a:extLst>
            </p:cNvPr>
            <p:cNvSpPr>
              <a:spLocks/>
            </p:cNvSpPr>
            <p:nvPr/>
          </p:nvSpPr>
          <p:spPr bwMode="auto">
            <a:xfrm>
              <a:off x="9371013" y="2209801"/>
              <a:ext cx="46038" cy="217488"/>
            </a:xfrm>
            <a:custGeom>
              <a:avLst/>
              <a:gdLst>
                <a:gd name="T0" fmla="*/ 12 w 12"/>
                <a:gd name="T1" fmla="*/ 2 h 58"/>
                <a:gd name="T2" fmla="*/ 10 w 12"/>
                <a:gd name="T3" fmla="*/ 0 h 58"/>
                <a:gd name="T4" fmla="*/ 0 w 12"/>
                <a:gd name="T5" fmla="*/ 0 h 58"/>
                <a:gd name="T6" fmla="*/ 0 w 12"/>
                <a:gd name="T7" fmla="*/ 12 h 58"/>
                <a:gd name="T8" fmla="*/ 0 w 12"/>
                <a:gd name="T9" fmla="*/ 18 h 58"/>
                <a:gd name="T10" fmla="*/ 0 w 12"/>
                <a:gd name="T11" fmla="*/ 58 h 58"/>
                <a:gd name="T12" fmla="*/ 12 w 12"/>
                <a:gd name="T13" fmla="*/ 46 h 58"/>
                <a:gd name="T14" fmla="*/ 12 w 12"/>
                <a:gd name="T15" fmla="*/ 2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58">
                  <a:moveTo>
                    <a:pt x="12" y="2"/>
                  </a:moveTo>
                  <a:cubicBezTo>
                    <a:pt x="12" y="1"/>
                    <a:pt x="11" y="0"/>
                    <a:pt x="10" y="0"/>
                  </a:cubicBezTo>
                  <a:cubicBezTo>
                    <a:pt x="0" y="0"/>
                    <a:pt x="0" y="0"/>
                    <a:pt x="0" y="0"/>
                  </a:cubicBezTo>
                  <a:cubicBezTo>
                    <a:pt x="0" y="12"/>
                    <a:pt x="0" y="12"/>
                    <a:pt x="0" y="12"/>
                  </a:cubicBezTo>
                  <a:cubicBezTo>
                    <a:pt x="0" y="18"/>
                    <a:pt x="0" y="18"/>
                    <a:pt x="0" y="18"/>
                  </a:cubicBezTo>
                  <a:cubicBezTo>
                    <a:pt x="0" y="58"/>
                    <a:pt x="0" y="58"/>
                    <a:pt x="0" y="58"/>
                  </a:cubicBezTo>
                  <a:cubicBezTo>
                    <a:pt x="12" y="46"/>
                    <a:pt x="12" y="46"/>
                    <a:pt x="12" y="46"/>
                  </a:cubicBezTo>
                  <a:lnTo>
                    <a:pt x="1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 name="Freeform 66">
              <a:extLst>
                <a:ext uri="{FF2B5EF4-FFF2-40B4-BE49-F238E27FC236}">
                  <a16:creationId xmlns="" xmlns:a16="http://schemas.microsoft.com/office/drawing/2014/main" id="{D547A117-C25B-4AEB-B2C9-74A085C46F9D}"/>
                </a:ext>
              </a:extLst>
            </p:cNvPr>
            <p:cNvSpPr>
              <a:spLocks/>
            </p:cNvSpPr>
            <p:nvPr/>
          </p:nvSpPr>
          <p:spPr bwMode="auto">
            <a:xfrm>
              <a:off x="9161463" y="2209801"/>
              <a:ext cx="187325" cy="285750"/>
            </a:xfrm>
            <a:custGeom>
              <a:avLst/>
              <a:gdLst>
                <a:gd name="T0" fmla="*/ 49 w 50"/>
                <a:gd name="T1" fmla="*/ 64 h 76"/>
                <a:gd name="T2" fmla="*/ 50 w 50"/>
                <a:gd name="T3" fmla="*/ 64 h 76"/>
                <a:gd name="T4" fmla="*/ 12 w 50"/>
                <a:gd name="T5" fmla="*/ 64 h 76"/>
                <a:gd name="T6" fmla="*/ 12 w 50"/>
                <a:gd name="T7" fmla="*/ 18 h 76"/>
                <a:gd name="T8" fmla="*/ 12 w 50"/>
                <a:gd name="T9" fmla="*/ 12 h 76"/>
                <a:gd name="T10" fmla="*/ 12 w 50"/>
                <a:gd name="T11" fmla="*/ 0 h 76"/>
                <a:gd name="T12" fmla="*/ 2 w 50"/>
                <a:gd name="T13" fmla="*/ 0 h 76"/>
                <a:gd name="T14" fmla="*/ 0 w 50"/>
                <a:gd name="T15" fmla="*/ 2 h 76"/>
                <a:gd name="T16" fmla="*/ 0 w 50"/>
                <a:gd name="T17" fmla="*/ 66 h 76"/>
                <a:gd name="T18" fmla="*/ 10 w 50"/>
                <a:gd name="T19" fmla="*/ 76 h 76"/>
                <a:gd name="T20" fmla="*/ 45 w 50"/>
                <a:gd name="T21" fmla="*/ 76 h 76"/>
                <a:gd name="T22" fmla="*/ 49 w 50"/>
                <a:gd name="T23" fmla="*/ 65 h 76"/>
                <a:gd name="T24" fmla="*/ 49 w 50"/>
                <a:gd name="T25" fmla="*/ 6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76">
                  <a:moveTo>
                    <a:pt x="49" y="64"/>
                  </a:moveTo>
                  <a:cubicBezTo>
                    <a:pt x="50" y="64"/>
                    <a:pt x="50" y="64"/>
                    <a:pt x="50" y="64"/>
                  </a:cubicBezTo>
                  <a:cubicBezTo>
                    <a:pt x="12" y="64"/>
                    <a:pt x="12" y="64"/>
                    <a:pt x="12" y="64"/>
                  </a:cubicBezTo>
                  <a:cubicBezTo>
                    <a:pt x="12" y="18"/>
                    <a:pt x="12" y="18"/>
                    <a:pt x="12" y="18"/>
                  </a:cubicBezTo>
                  <a:cubicBezTo>
                    <a:pt x="12" y="12"/>
                    <a:pt x="12" y="12"/>
                    <a:pt x="12" y="12"/>
                  </a:cubicBezTo>
                  <a:cubicBezTo>
                    <a:pt x="12" y="0"/>
                    <a:pt x="12" y="0"/>
                    <a:pt x="12" y="0"/>
                  </a:cubicBezTo>
                  <a:cubicBezTo>
                    <a:pt x="2" y="0"/>
                    <a:pt x="2" y="0"/>
                    <a:pt x="2" y="0"/>
                  </a:cubicBezTo>
                  <a:cubicBezTo>
                    <a:pt x="1" y="0"/>
                    <a:pt x="0" y="1"/>
                    <a:pt x="0" y="2"/>
                  </a:cubicBezTo>
                  <a:cubicBezTo>
                    <a:pt x="0" y="66"/>
                    <a:pt x="0" y="66"/>
                    <a:pt x="0" y="66"/>
                  </a:cubicBezTo>
                  <a:cubicBezTo>
                    <a:pt x="0" y="72"/>
                    <a:pt x="4" y="76"/>
                    <a:pt x="10" y="76"/>
                  </a:cubicBezTo>
                  <a:cubicBezTo>
                    <a:pt x="45" y="76"/>
                    <a:pt x="45" y="76"/>
                    <a:pt x="45" y="76"/>
                  </a:cubicBezTo>
                  <a:cubicBezTo>
                    <a:pt x="49" y="65"/>
                    <a:pt x="49" y="65"/>
                    <a:pt x="49" y="65"/>
                  </a:cubicBezTo>
                  <a:cubicBezTo>
                    <a:pt x="49" y="65"/>
                    <a:pt x="49" y="65"/>
                    <a:pt x="4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 name="Freeform 67">
              <a:extLst>
                <a:ext uri="{FF2B5EF4-FFF2-40B4-BE49-F238E27FC236}">
                  <a16:creationId xmlns="" xmlns:a16="http://schemas.microsoft.com/office/drawing/2014/main" id="{C78C8C6E-AA7E-4FFE-AD0B-FB890E8516B9}"/>
                </a:ext>
              </a:extLst>
            </p:cNvPr>
            <p:cNvSpPr>
              <a:spLocks/>
            </p:cNvSpPr>
            <p:nvPr/>
          </p:nvSpPr>
          <p:spPr bwMode="auto">
            <a:xfrm>
              <a:off x="9236075" y="2298701"/>
              <a:ext cx="90488" cy="15875"/>
            </a:xfrm>
            <a:custGeom>
              <a:avLst/>
              <a:gdLst>
                <a:gd name="T0" fmla="*/ 22 w 24"/>
                <a:gd name="T1" fmla="*/ 0 h 4"/>
                <a:gd name="T2" fmla="*/ 2 w 24"/>
                <a:gd name="T3" fmla="*/ 0 h 4"/>
                <a:gd name="T4" fmla="*/ 0 w 24"/>
                <a:gd name="T5" fmla="*/ 2 h 4"/>
                <a:gd name="T6" fmla="*/ 2 w 24"/>
                <a:gd name="T7" fmla="*/ 4 h 4"/>
                <a:gd name="T8" fmla="*/ 22 w 24"/>
                <a:gd name="T9" fmla="*/ 4 h 4"/>
                <a:gd name="T10" fmla="*/ 24 w 24"/>
                <a:gd name="T11" fmla="*/ 2 h 4"/>
                <a:gd name="T12" fmla="*/ 22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2" y="0"/>
                  </a:move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ubicBezTo>
                    <a:pt x="24" y="1"/>
                    <a:pt x="23"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 name="Freeform 68">
              <a:extLst>
                <a:ext uri="{FF2B5EF4-FFF2-40B4-BE49-F238E27FC236}">
                  <a16:creationId xmlns="" xmlns:a16="http://schemas.microsoft.com/office/drawing/2014/main" id="{2288712C-BB20-4467-B0A8-5403513A4B73}"/>
                </a:ext>
              </a:extLst>
            </p:cNvPr>
            <p:cNvSpPr>
              <a:spLocks/>
            </p:cNvSpPr>
            <p:nvPr/>
          </p:nvSpPr>
          <p:spPr bwMode="auto">
            <a:xfrm>
              <a:off x="9236075" y="2328863"/>
              <a:ext cx="90488" cy="15875"/>
            </a:xfrm>
            <a:custGeom>
              <a:avLst/>
              <a:gdLst>
                <a:gd name="T0" fmla="*/ 22 w 24"/>
                <a:gd name="T1" fmla="*/ 0 h 4"/>
                <a:gd name="T2" fmla="*/ 2 w 24"/>
                <a:gd name="T3" fmla="*/ 0 h 4"/>
                <a:gd name="T4" fmla="*/ 0 w 24"/>
                <a:gd name="T5" fmla="*/ 2 h 4"/>
                <a:gd name="T6" fmla="*/ 2 w 24"/>
                <a:gd name="T7" fmla="*/ 4 h 4"/>
                <a:gd name="T8" fmla="*/ 22 w 24"/>
                <a:gd name="T9" fmla="*/ 4 h 4"/>
                <a:gd name="T10" fmla="*/ 24 w 24"/>
                <a:gd name="T11" fmla="*/ 2 h 4"/>
                <a:gd name="T12" fmla="*/ 22 w 2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2" y="0"/>
                  </a:move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ubicBezTo>
                    <a:pt x="24" y="1"/>
                    <a:pt x="23"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 name="Freeform 69">
              <a:extLst>
                <a:ext uri="{FF2B5EF4-FFF2-40B4-BE49-F238E27FC236}">
                  <a16:creationId xmlns="" xmlns:a16="http://schemas.microsoft.com/office/drawing/2014/main" id="{0E041EA8-F966-43EA-B1AB-EE0FD24D8781}"/>
                </a:ext>
              </a:extLst>
            </p:cNvPr>
            <p:cNvSpPr>
              <a:spLocks/>
            </p:cNvSpPr>
            <p:nvPr/>
          </p:nvSpPr>
          <p:spPr bwMode="auto">
            <a:xfrm>
              <a:off x="9236075" y="2359026"/>
              <a:ext cx="90488" cy="15875"/>
            </a:xfrm>
            <a:custGeom>
              <a:avLst/>
              <a:gdLst>
                <a:gd name="T0" fmla="*/ 24 w 24"/>
                <a:gd name="T1" fmla="*/ 2 h 4"/>
                <a:gd name="T2" fmla="*/ 22 w 24"/>
                <a:gd name="T3" fmla="*/ 0 h 4"/>
                <a:gd name="T4" fmla="*/ 2 w 24"/>
                <a:gd name="T5" fmla="*/ 0 h 4"/>
                <a:gd name="T6" fmla="*/ 0 w 24"/>
                <a:gd name="T7" fmla="*/ 2 h 4"/>
                <a:gd name="T8" fmla="*/ 2 w 24"/>
                <a:gd name="T9" fmla="*/ 4 h 4"/>
                <a:gd name="T10" fmla="*/ 22 w 24"/>
                <a:gd name="T11" fmla="*/ 4 h 4"/>
                <a:gd name="T12" fmla="*/ 24 w 2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24" y="2"/>
                  </a:moveTo>
                  <a:cubicBezTo>
                    <a:pt x="24" y="1"/>
                    <a:pt x="23" y="0"/>
                    <a:pt x="22" y="0"/>
                  </a:cubicBezTo>
                  <a:cubicBezTo>
                    <a:pt x="2" y="0"/>
                    <a:pt x="2" y="0"/>
                    <a:pt x="2" y="0"/>
                  </a:cubicBezTo>
                  <a:cubicBezTo>
                    <a:pt x="1" y="0"/>
                    <a:pt x="0" y="1"/>
                    <a:pt x="0" y="2"/>
                  </a:cubicBezTo>
                  <a:cubicBezTo>
                    <a:pt x="0" y="3"/>
                    <a:pt x="1" y="4"/>
                    <a:pt x="2" y="4"/>
                  </a:cubicBezTo>
                  <a:cubicBezTo>
                    <a:pt x="22" y="4"/>
                    <a:pt x="22" y="4"/>
                    <a:pt x="22" y="4"/>
                  </a:cubicBezTo>
                  <a:cubicBezTo>
                    <a:pt x="23" y="4"/>
                    <a:pt x="24" y="3"/>
                    <a:pt x="2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4" name="Freeform 70">
              <a:extLst>
                <a:ext uri="{FF2B5EF4-FFF2-40B4-BE49-F238E27FC236}">
                  <a16:creationId xmlns="" xmlns:a16="http://schemas.microsoft.com/office/drawing/2014/main" id="{CE5B3C5D-8FB7-45D2-A784-97AC1E2F9126}"/>
                </a:ext>
              </a:extLst>
            </p:cNvPr>
            <p:cNvSpPr>
              <a:spLocks/>
            </p:cNvSpPr>
            <p:nvPr/>
          </p:nvSpPr>
          <p:spPr bwMode="auto">
            <a:xfrm>
              <a:off x="9236075" y="2389188"/>
              <a:ext cx="60325" cy="15875"/>
            </a:xfrm>
            <a:custGeom>
              <a:avLst/>
              <a:gdLst>
                <a:gd name="T0" fmla="*/ 2 w 16"/>
                <a:gd name="T1" fmla="*/ 0 h 4"/>
                <a:gd name="T2" fmla="*/ 0 w 16"/>
                <a:gd name="T3" fmla="*/ 2 h 4"/>
                <a:gd name="T4" fmla="*/ 2 w 16"/>
                <a:gd name="T5" fmla="*/ 4 h 4"/>
                <a:gd name="T6" fmla="*/ 14 w 16"/>
                <a:gd name="T7" fmla="*/ 4 h 4"/>
                <a:gd name="T8" fmla="*/ 16 w 16"/>
                <a:gd name="T9" fmla="*/ 2 h 4"/>
                <a:gd name="T10" fmla="*/ 14 w 16"/>
                <a:gd name="T11" fmla="*/ 0 h 4"/>
                <a:gd name="T12" fmla="*/ 2 w 1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2" y="0"/>
                  </a:moveTo>
                  <a:cubicBezTo>
                    <a:pt x="1" y="0"/>
                    <a:pt x="0" y="1"/>
                    <a:pt x="0" y="2"/>
                  </a:cubicBezTo>
                  <a:cubicBezTo>
                    <a:pt x="0" y="3"/>
                    <a:pt x="1" y="4"/>
                    <a:pt x="2" y="4"/>
                  </a:cubicBezTo>
                  <a:cubicBezTo>
                    <a:pt x="14" y="4"/>
                    <a:pt x="14" y="4"/>
                    <a:pt x="14" y="4"/>
                  </a:cubicBezTo>
                  <a:cubicBezTo>
                    <a:pt x="15" y="4"/>
                    <a:pt x="16" y="3"/>
                    <a:pt x="16" y="2"/>
                  </a:cubicBezTo>
                  <a:cubicBezTo>
                    <a:pt x="16" y="1"/>
                    <a:pt x="15" y="0"/>
                    <a:pt x="14"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 name="Freeform 71">
              <a:extLst>
                <a:ext uri="{FF2B5EF4-FFF2-40B4-BE49-F238E27FC236}">
                  <a16:creationId xmlns="" xmlns:a16="http://schemas.microsoft.com/office/drawing/2014/main" id="{12A97530-9913-429B-8464-31F1FFCDA1FA}"/>
                </a:ext>
              </a:extLst>
            </p:cNvPr>
            <p:cNvSpPr>
              <a:spLocks/>
            </p:cNvSpPr>
            <p:nvPr/>
          </p:nvSpPr>
          <p:spPr bwMode="auto">
            <a:xfrm>
              <a:off x="9221788" y="2163763"/>
              <a:ext cx="134938" cy="104775"/>
            </a:xfrm>
            <a:custGeom>
              <a:avLst/>
              <a:gdLst>
                <a:gd name="T0" fmla="*/ 2 w 36"/>
                <a:gd name="T1" fmla="*/ 28 h 28"/>
                <a:gd name="T2" fmla="*/ 34 w 36"/>
                <a:gd name="T3" fmla="*/ 28 h 28"/>
                <a:gd name="T4" fmla="*/ 36 w 36"/>
                <a:gd name="T5" fmla="*/ 26 h 28"/>
                <a:gd name="T6" fmla="*/ 36 w 36"/>
                <a:gd name="T7" fmla="*/ 10 h 28"/>
                <a:gd name="T8" fmla="*/ 34 w 36"/>
                <a:gd name="T9" fmla="*/ 8 h 28"/>
                <a:gd name="T10" fmla="*/ 28 w 36"/>
                <a:gd name="T11" fmla="*/ 8 h 28"/>
                <a:gd name="T12" fmla="*/ 18 w 36"/>
                <a:gd name="T13" fmla="*/ 0 h 28"/>
                <a:gd name="T14" fmla="*/ 8 w 36"/>
                <a:gd name="T15" fmla="*/ 8 h 28"/>
                <a:gd name="T16" fmla="*/ 2 w 36"/>
                <a:gd name="T17" fmla="*/ 8 h 28"/>
                <a:gd name="T18" fmla="*/ 0 w 36"/>
                <a:gd name="T19" fmla="*/ 10 h 28"/>
                <a:gd name="T20" fmla="*/ 0 w 36"/>
                <a:gd name="T21" fmla="*/ 26 h 28"/>
                <a:gd name="T22" fmla="*/ 2 w 36"/>
                <a:gd name="T2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8">
                  <a:moveTo>
                    <a:pt x="2" y="28"/>
                  </a:moveTo>
                  <a:cubicBezTo>
                    <a:pt x="34" y="28"/>
                    <a:pt x="34" y="28"/>
                    <a:pt x="34" y="28"/>
                  </a:cubicBezTo>
                  <a:cubicBezTo>
                    <a:pt x="35" y="28"/>
                    <a:pt x="36" y="27"/>
                    <a:pt x="36" y="26"/>
                  </a:cubicBezTo>
                  <a:cubicBezTo>
                    <a:pt x="36" y="10"/>
                    <a:pt x="36" y="10"/>
                    <a:pt x="36" y="10"/>
                  </a:cubicBezTo>
                  <a:cubicBezTo>
                    <a:pt x="36" y="9"/>
                    <a:pt x="35" y="8"/>
                    <a:pt x="34" y="8"/>
                  </a:cubicBezTo>
                  <a:cubicBezTo>
                    <a:pt x="28" y="8"/>
                    <a:pt x="28" y="8"/>
                    <a:pt x="28" y="8"/>
                  </a:cubicBezTo>
                  <a:cubicBezTo>
                    <a:pt x="27" y="3"/>
                    <a:pt x="23" y="0"/>
                    <a:pt x="18" y="0"/>
                  </a:cubicBezTo>
                  <a:cubicBezTo>
                    <a:pt x="13" y="0"/>
                    <a:pt x="9" y="3"/>
                    <a:pt x="8" y="8"/>
                  </a:cubicBezTo>
                  <a:cubicBezTo>
                    <a:pt x="2" y="8"/>
                    <a:pt x="2" y="8"/>
                    <a:pt x="2" y="8"/>
                  </a:cubicBezTo>
                  <a:cubicBezTo>
                    <a:pt x="1" y="8"/>
                    <a:pt x="0" y="9"/>
                    <a:pt x="0" y="10"/>
                  </a:cubicBezTo>
                  <a:cubicBezTo>
                    <a:pt x="0" y="26"/>
                    <a:pt x="0" y="26"/>
                    <a:pt x="0" y="26"/>
                  </a:cubicBezTo>
                  <a:cubicBezTo>
                    <a:pt x="0" y="27"/>
                    <a:pt x="1" y="28"/>
                    <a:pt x="2"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 name="Freeform 72">
              <a:extLst>
                <a:ext uri="{FF2B5EF4-FFF2-40B4-BE49-F238E27FC236}">
                  <a16:creationId xmlns="" xmlns:a16="http://schemas.microsoft.com/office/drawing/2014/main" id="{0E253B7C-E25B-4BAA-B825-84AED272E4D2}"/>
                </a:ext>
              </a:extLst>
            </p:cNvPr>
            <p:cNvSpPr>
              <a:spLocks/>
            </p:cNvSpPr>
            <p:nvPr/>
          </p:nvSpPr>
          <p:spPr bwMode="auto">
            <a:xfrm>
              <a:off x="9447213" y="2344738"/>
              <a:ext cx="74613" cy="74613"/>
            </a:xfrm>
            <a:custGeom>
              <a:avLst/>
              <a:gdLst>
                <a:gd name="T0" fmla="*/ 19 w 20"/>
                <a:gd name="T1" fmla="*/ 11 h 20"/>
                <a:gd name="T2" fmla="*/ 9 w 20"/>
                <a:gd name="T3" fmla="*/ 1 h 20"/>
                <a:gd name="T4" fmla="*/ 7 w 20"/>
                <a:gd name="T5" fmla="*/ 1 h 20"/>
                <a:gd name="T6" fmla="*/ 0 w 20"/>
                <a:gd name="T7" fmla="*/ 7 h 20"/>
                <a:gd name="T8" fmla="*/ 13 w 20"/>
                <a:gd name="T9" fmla="*/ 20 h 20"/>
                <a:gd name="T10" fmla="*/ 19 w 20"/>
                <a:gd name="T11" fmla="*/ 13 h 20"/>
                <a:gd name="T12" fmla="*/ 20 w 20"/>
                <a:gd name="T13" fmla="*/ 12 h 20"/>
                <a:gd name="T14" fmla="*/ 19 w 20"/>
                <a:gd name="T15" fmla="*/ 11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0">
                  <a:moveTo>
                    <a:pt x="19" y="11"/>
                  </a:moveTo>
                  <a:cubicBezTo>
                    <a:pt x="9" y="1"/>
                    <a:pt x="9" y="1"/>
                    <a:pt x="9" y="1"/>
                  </a:cubicBezTo>
                  <a:cubicBezTo>
                    <a:pt x="9" y="0"/>
                    <a:pt x="7" y="0"/>
                    <a:pt x="7" y="1"/>
                  </a:cubicBezTo>
                  <a:cubicBezTo>
                    <a:pt x="0" y="7"/>
                    <a:pt x="0" y="7"/>
                    <a:pt x="0" y="7"/>
                  </a:cubicBezTo>
                  <a:cubicBezTo>
                    <a:pt x="13" y="20"/>
                    <a:pt x="13" y="20"/>
                    <a:pt x="13" y="20"/>
                  </a:cubicBezTo>
                  <a:cubicBezTo>
                    <a:pt x="19" y="13"/>
                    <a:pt x="19" y="13"/>
                    <a:pt x="19" y="13"/>
                  </a:cubicBezTo>
                  <a:cubicBezTo>
                    <a:pt x="20" y="13"/>
                    <a:pt x="20" y="13"/>
                    <a:pt x="20" y="12"/>
                  </a:cubicBezTo>
                  <a:cubicBezTo>
                    <a:pt x="20" y="11"/>
                    <a:pt x="20" y="11"/>
                    <a:pt x="1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 name="Freeform 73">
              <a:extLst>
                <a:ext uri="{FF2B5EF4-FFF2-40B4-BE49-F238E27FC236}">
                  <a16:creationId xmlns="" xmlns:a16="http://schemas.microsoft.com/office/drawing/2014/main" id="{8908649D-D8A3-49FF-AC2D-6DC4C8463608}"/>
                </a:ext>
              </a:extLst>
            </p:cNvPr>
            <p:cNvSpPr>
              <a:spLocks/>
            </p:cNvSpPr>
            <p:nvPr/>
          </p:nvSpPr>
          <p:spPr bwMode="auto">
            <a:xfrm>
              <a:off x="9340850" y="2468563"/>
              <a:ext cx="57150" cy="57150"/>
            </a:xfrm>
            <a:custGeom>
              <a:avLst/>
              <a:gdLst>
                <a:gd name="T0" fmla="*/ 2 w 15"/>
                <a:gd name="T1" fmla="*/ 7 h 15"/>
                <a:gd name="T2" fmla="*/ 2 w 15"/>
                <a:gd name="T3" fmla="*/ 7 h 15"/>
                <a:gd name="T4" fmla="*/ 0 w 15"/>
                <a:gd name="T5" fmla="*/ 12 h 15"/>
                <a:gd name="T6" fmla="*/ 1 w 15"/>
                <a:gd name="T7" fmla="*/ 14 h 15"/>
                <a:gd name="T8" fmla="*/ 3 w 15"/>
                <a:gd name="T9" fmla="*/ 15 h 15"/>
                <a:gd name="T10" fmla="*/ 15 w 15"/>
                <a:gd name="T11" fmla="*/ 11 h 15"/>
                <a:gd name="T12" fmla="*/ 4 w 15"/>
                <a:gd name="T13" fmla="*/ 0 h 15"/>
                <a:gd name="T14" fmla="*/ 2 w 15"/>
                <a:gd name="T15" fmla="*/ 7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2" y="7"/>
                  </a:moveTo>
                  <a:cubicBezTo>
                    <a:pt x="2" y="7"/>
                    <a:pt x="2" y="7"/>
                    <a:pt x="2" y="7"/>
                  </a:cubicBezTo>
                  <a:cubicBezTo>
                    <a:pt x="0" y="12"/>
                    <a:pt x="0" y="12"/>
                    <a:pt x="0" y="12"/>
                  </a:cubicBezTo>
                  <a:cubicBezTo>
                    <a:pt x="0" y="13"/>
                    <a:pt x="0" y="14"/>
                    <a:pt x="1" y="14"/>
                  </a:cubicBezTo>
                  <a:cubicBezTo>
                    <a:pt x="1" y="15"/>
                    <a:pt x="2" y="15"/>
                    <a:pt x="3" y="15"/>
                  </a:cubicBezTo>
                  <a:cubicBezTo>
                    <a:pt x="15" y="11"/>
                    <a:pt x="15" y="11"/>
                    <a:pt x="15" y="11"/>
                  </a:cubicBezTo>
                  <a:cubicBezTo>
                    <a:pt x="4" y="0"/>
                    <a:pt x="4" y="0"/>
                    <a:pt x="4" y="0"/>
                  </a:cubicBez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8" name="Freeform 74">
              <a:extLst>
                <a:ext uri="{FF2B5EF4-FFF2-40B4-BE49-F238E27FC236}">
                  <a16:creationId xmlns="" xmlns:a16="http://schemas.microsoft.com/office/drawing/2014/main" id="{2F45B535-53C4-4BB3-9A43-B6518F2F8CF0}"/>
                </a:ext>
              </a:extLst>
            </p:cNvPr>
            <p:cNvSpPr>
              <a:spLocks/>
            </p:cNvSpPr>
            <p:nvPr/>
          </p:nvSpPr>
          <p:spPr bwMode="auto">
            <a:xfrm>
              <a:off x="9364663" y="2382838"/>
              <a:ext cx="119063" cy="120650"/>
            </a:xfrm>
            <a:custGeom>
              <a:avLst/>
              <a:gdLst>
                <a:gd name="T0" fmla="*/ 0 w 75"/>
                <a:gd name="T1" fmla="*/ 45 h 76"/>
                <a:gd name="T2" fmla="*/ 30 w 75"/>
                <a:gd name="T3" fmla="*/ 76 h 76"/>
                <a:gd name="T4" fmla="*/ 75 w 75"/>
                <a:gd name="T5" fmla="*/ 30 h 76"/>
                <a:gd name="T6" fmla="*/ 45 w 75"/>
                <a:gd name="T7" fmla="*/ 0 h 76"/>
                <a:gd name="T8" fmla="*/ 0 w 75"/>
                <a:gd name="T9" fmla="*/ 45 h 76"/>
              </a:gdLst>
              <a:ahLst/>
              <a:cxnLst>
                <a:cxn ang="0">
                  <a:pos x="T0" y="T1"/>
                </a:cxn>
                <a:cxn ang="0">
                  <a:pos x="T2" y="T3"/>
                </a:cxn>
                <a:cxn ang="0">
                  <a:pos x="T4" y="T5"/>
                </a:cxn>
                <a:cxn ang="0">
                  <a:pos x="T6" y="T7"/>
                </a:cxn>
                <a:cxn ang="0">
                  <a:pos x="T8" y="T9"/>
                </a:cxn>
              </a:cxnLst>
              <a:rect l="0" t="0" r="r" b="b"/>
              <a:pathLst>
                <a:path w="75" h="76">
                  <a:moveTo>
                    <a:pt x="0" y="45"/>
                  </a:moveTo>
                  <a:lnTo>
                    <a:pt x="30" y="76"/>
                  </a:lnTo>
                  <a:lnTo>
                    <a:pt x="75" y="30"/>
                  </a:lnTo>
                  <a:lnTo>
                    <a:pt x="45" y="0"/>
                  </a:lnTo>
                  <a:lnTo>
                    <a:pt x="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25" name="Group 24">
            <a:extLst>
              <a:ext uri="{FF2B5EF4-FFF2-40B4-BE49-F238E27FC236}">
                <a16:creationId xmlns="" xmlns:a16="http://schemas.microsoft.com/office/drawing/2014/main" id="{2E181B9E-329C-48FF-B68C-0714AF5FD970}"/>
              </a:ext>
            </a:extLst>
          </p:cNvPr>
          <p:cNvGrpSpPr/>
          <p:nvPr/>
        </p:nvGrpSpPr>
        <p:grpSpPr>
          <a:xfrm>
            <a:off x="4983669" y="1292379"/>
            <a:ext cx="7042351" cy="2154436"/>
            <a:chOff x="4911725" y="2108610"/>
            <a:chExt cx="6670676" cy="2154436"/>
          </a:xfrm>
        </p:grpSpPr>
        <p:sp>
          <p:nvSpPr>
            <p:cNvPr id="19" name="Rectangle 18">
              <a:extLst>
                <a:ext uri="{FF2B5EF4-FFF2-40B4-BE49-F238E27FC236}">
                  <a16:creationId xmlns="" xmlns:a16="http://schemas.microsoft.com/office/drawing/2014/main" id="{5D6F9627-DD2A-418F-9FB1-59EDA3AF076F}"/>
                </a:ext>
              </a:extLst>
            </p:cNvPr>
            <p:cNvSpPr/>
            <p:nvPr/>
          </p:nvSpPr>
          <p:spPr>
            <a:xfrm>
              <a:off x="5435600" y="2108610"/>
              <a:ext cx="6146801" cy="2154436"/>
            </a:xfrm>
            <a:prstGeom prst="rect">
              <a:avLst/>
            </a:prstGeom>
          </p:spPr>
          <p:txBody>
            <a:bodyPr wrap="square" lIns="0" tIns="0" rIns="0" bIns="0">
              <a:spAutoFit/>
            </a:bodyPr>
            <a:lstStyle/>
            <a:p>
              <a:r>
                <a:rPr lang="ru-RU" b="1" dirty="0" smtClean="0">
                  <a:latin typeface="Times New Roman" panose="02020603050405020304" pitchFamily="18" charset="0"/>
                  <a:cs typeface="Times New Roman" panose="02020603050405020304" pitchFamily="18" charset="0"/>
                </a:rPr>
                <a:t>Анаген</a:t>
              </a:r>
              <a:r>
                <a:rPr lang="ru-RU" dirty="0">
                  <a:latin typeface="Times New Roman" panose="02020603050405020304" pitchFamily="18" charset="0"/>
                  <a:cs typeface="Times New Roman" panose="02020603050405020304" pitchFamily="18" charset="0"/>
                </a:rPr>
                <a:t> (фаза роста) – период самого активного роста, во время которого активно производится кератин – главное строительное вещество для волоса. Этот период длится от 2 до 5 лет. Длительность фазы определяет максимальную длину волоса. Сначала фолликул производит тонкое волосяное волокно (</a:t>
              </a:r>
              <a:r>
                <a:rPr lang="ru-RU" dirty="0" err="1">
                  <a:latin typeface="Times New Roman" panose="02020603050405020304" pitchFamily="18" charset="0"/>
                  <a:cs typeface="Times New Roman" panose="02020603050405020304" pitchFamily="18" charset="0"/>
                </a:rPr>
                <a:t>пушковый</a:t>
              </a:r>
              <a:r>
                <a:rPr lang="ru-RU" dirty="0">
                  <a:latin typeface="Times New Roman" panose="02020603050405020304" pitchFamily="18" charset="0"/>
                  <a:cs typeface="Times New Roman" panose="02020603050405020304" pitchFamily="18" charset="0"/>
                </a:rPr>
                <a:t> волос), затем волос становиться более толстым и пигментированным (терминальный).</a:t>
              </a:r>
            </a:p>
            <a:p>
              <a:r>
                <a:rPr lang="en-US" sz="1400" dirty="0" smtClean="0"/>
                <a:t> </a:t>
              </a:r>
              <a:endParaRPr lang="en-US" sz="1400" dirty="0"/>
            </a:p>
          </p:txBody>
        </p:sp>
        <p:grpSp>
          <p:nvGrpSpPr>
            <p:cNvPr id="24" name="Group 23">
              <a:extLst>
                <a:ext uri="{FF2B5EF4-FFF2-40B4-BE49-F238E27FC236}">
                  <a16:creationId xmlns="" xmlns:a16="http://schemas.microsoft.com/office/drawing/2014/main" id="{B8C4FD4E-5B61-4F64-A78C-FA633DC9A8A4}"/>
                </a:ext>
              </a:extLst>
            </p:cNvPr>
            <p:cNvGrpSpPr/>
            <p:nvPr/>
          </p:nvGrpSpPr>
          <p:grpSpPr>
            <a:xfrm>
              <a:off x="4911725" y="2171653"/>
              <a:ext cx="379754" cy="304800"/>
              <a:chOff x="4911725" y="2222500"/>
              <a:chExt cx="379754" cy="304800"/>
            </a:xfrm>
          </p:grpSpPr>
          <p:sp>
            <p:nvSpPr>
              <p:cNvPr id="20" name="Oval 19">
                <a:extLst>
                  <a:ext uri="{FF2B5EF4-FFF2-40B4-BE49-F238E27FC236}">
                    <a16:creationId xmlns="" xmlns:a16="http://schemas.microsoft.com/office/drawing/2014/main" id="{E2826D37-A47D-438A-B760-3A83D8237726}"/>
                  </a:ext>
                </a:extLst>
              </p:cNvPr>
              <p:cNvSpPr/>
              <p:nvPr/>
            </p:nvSpPr>
            <p:spPr>
              <a:xfrm>
                <a:off x="4911725" y="2222500"/>
                <a:ext cx="304800" cy="304800"/>
              </a:xfrm>
              <a:prstGeom prst="ellipse">
                <a:avLst/>
              </a:prstGeom>
              <a:solidFill>
                <a:srgbClr val="DBCB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Top Corners Rounded 21">
                <a:extLst>
                  <a:ext uri="{FF2B5EF4-FFF2-40B4-BE49-F238E27FC236}">
                    <a16:creationId xmlns="" xmlns:a16="http://schemas.microsoft.com/office/drawing/2014/main" id="{8BD42D57-AD82-4318-98AA-6CA5DE0E9969}"/>
                  </a:ext>
                </a:extLst>
              </p:cNvPr>
              <p:cNvSpPr/>
              <p:nvPr/>
            </p:nvSpPr>
            <p:spPr>
              <a:xfrm rot="5400000">
                <a:off x="5067155" y="2342953"/>
                <a:ext cx="193674" cy="63896"/>
              </a:xfrm>
              <a:prstGeom prst="round2SameRect">
                <a:avLst>
                  <a:gd name="adj1" fmla="val 50000"/>
                  <a:gd name="adj2" fmla="val 0"/>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Isosceles Triangle 20">
                <a:extLst>
                  <a:ext uri="{FF2B5EF4-FFF2-40B4-BE49-F238E27FC236}">
                    <a16:creationId xmlns="" xmlns:a16="http://schemas.microsoft.com/office/drawing/2014/main" id="{0C42278B-1FBB-45F7-8F1B-0F911C6CC342}"/>
                  </a:ext>
                </a:extLst>
              </p:cNvPr>
              <p:cNvSpPr/>
              <p:nvPr/>
            </p:nvSpPr>
            <p:spPr>
              <a:xfrm rot="5400000">
                <a:off x="5119290" y="2295184"/>
                <a:ext cx="184944" cy="159435"/>
              </a:xfrm>
              <a:prstGeom prst="triangle">
                <a:avLst/>
              </a:prstGeom>
              <a:solidFill>
                <a:srgbClr val="A53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Isosceles Triangle 22">
                <a:extLst>
                  <a:ext uri="{FF2B5EF4-FFF2-40B4-BE49-F238E27FC236}">
                    <a16:creationId xmlns="" xmlns:a16="http://schemas.microsoft.com/office/drawing/2014/main" id="{10AE614F-FA75-4779-8DE4-E62ECDBDA351}"/>
                  </a:ext>
                </a:extLst>
              </p:cNvPr>
              <p:cNvSpPr/>
              <p:nvPr/>
            </p:nvSpPr>
            <p:spPr>
              <a:xfrm rot="5400000">
                <a:off x="5068062" y="2321225"/>
                <a:ext cx="127066" cy="10954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6" name="Group 25">
            <a:extLst>
              <a:ext uri="{FF2B5EF4-FFF2-40B4-BE49-F238E27FC236}">
                <a16:creationId xmlns="" xmlns:a16="http://schemas.microsoft.com/office/drawing/2014/main" id="{B80358DE-7FE0-4DA0-B97F-BC9A33E2283C}"/>
              </a:ext>
            </a:extLst>
          </p:cNvPr>
          <p:cNvGrpSpPr/>
          <p:nvPr/>
        </p:nvGrpSpPr>
        <p:grpSpPr>
          <a:xfrm>
            <a:off x="4983669" y="3518406"/>
            <a:ext cx="6670676" cy="1600438"/>
            <a:chOff x="4911725" y="2108610"/>
            <a:chExt cx="6670676" cy="1600438"/>
          </a:xfrm>
        </p:grpSpPr>
        <p:sp>
          <p:nvSpPr>
            <p:cNvPr id="27" name="Rectangle 26">
              <a:extLst>
                <a:ext uri="{FF2B5EF4-FFF2-40B4-BE49-F238E27FC236}">
                  <a16:creationId xmlns="" xmlns:a16="http://schemas.microsoft.com/office/drawing/2014/main" id="{1400DC46-1CB6-4F28-A173-A6D4E8539FF7}"/>
                </a:ext>
              </a:extLst>
            </p:cNvPr>
            <p:cNvSpPr/>
            <p:nvPr/>
          </p:nvSpPr>
          <p:spPr>
            <a:xfrm>
              <a:off x="5435600" y="2108610"/>
              <a:ext cx="6146801" cy="1600438"/>
            </a:xfrm>
            <a:prstGeom prst="rect">
              <a:avLst/>
            </a:prstGeom>
          </p:spPr>
          <p:txBody>
            <a:bodyPr wrap="square" lIns="0" tIns="0" rIns="0" bIns="0">
              <a:spAutoFit/>
            </a:bodyPr>
            <a:lstStyle/>
            <a:p>
              <a:r>
                <a:rPr lang="ru-RU" b="1" dirty="0" err="1" smtClean="0">
                  <a:latin typeface="Times New Roman" panose="02020603050405020304" pitchFamily="18" charset="0"/>
                  <a:cs typeface="Times New Roman" panose="02020603050405020304" pitchFamily="18" charset="0"/>
                </a:rPr>
                <a:t>Катаген</a:t>
              </a:r>
              <a:r>
                <a:rPr lang="ru-RU" dirty="0">
                  <a:latin typeface="Times New Roman" panose="02020603050405020304" pitchFamily="18" charset="0"/>
                  <a:cs typeface="Times New Roman" panose="02020603050405020304" pitchFamily="18" charset="0"/>
                </a:rPr>
                <a:t> (фаза деградации фолликула) – это переходный период от стадии активного роста к стадии покоя. В этот период волосяная луковица отделяется от волосяного сосочка, следовательно, питание нарушается, рост волоса останавливается. Фаза продолжается несколько недель</a:t>
              </a:r>
              <a:r>
                <a:rPr lang="ru-RU" dirty="0"/>
                <a:t>.</a:t>
              </a:r>
            </a:p>
            <a:p>
              <a:endParaRPr lang="en-US" sz="1400" dirty="0"/>
            </a:p>
          </p:txBody>
        </p:sp>
        <p:grpSp>
          <p:nvGrpSpPr>
            <p:cNvPr id="28" name="Group 27">
              <a:extLst>
                <a:ext uri="{FF2B5EF4-FFF2-40B4-BE49-F238E27FC236}">
                  <a16:creationId xmlns="" xmlns:a16="http://schemas.microsoft.com/office/drawing/2014/main" id="{85AC496F-DD91-4DA1-8BE4-284283E9A515}"/>
                </a:ext>
              </a:extLst>
            </p:cNvPr>
            <p:cNvGrpSpPr/>
            <p:nvPr/>
          </p:nvGrpSpPr>
          <p:grpSpPr>
            <a:xfrm>
              <a:off x="4911725" y="2171653"/>
              <a:ext cx="379754" cy="304800"/>
              <a:chOff x="4911725" y="2222500"/>
              <a:chExt cx="379754" cy="304800"/>
            </a:xfrm>
          </p:grpSpPr>
          <p:sp>
            <p:nvSpPr>
              <p:cNvPr id="29" name="Oval 28">
                <a:extLst>
                  <a:ext uri="{FF2B5EF4-FFF2-40B4-BE49-F238E27FC236}">
                    <a16:creationId xmlns="" xmlns:a16="http://schemas.microsoft.com/office/drawing/2014/main" id="{196B42B2-8F72-46B4-BB6B-56514B097A0F}"/>
                  </a:ext>
                </a:extLst>
              </p:cNvPr>
              <p:cNvSpPr/>
              <p:nvPr/>
            </p:nvSpPr>
            <p:spPr>
              <a:xfrm>
                <a:off x="4911725" y="2222500"/>
                <a:ext cx="304800" cy="304800"/>
              </a:xfrm>
              <a:prstGeom prst="ellipse">
                <a:avLst/>
              </a:prstGeom>
              <a:solidFill>
                <a:srgbClr val="DBCB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Top Corners Rounded 29">
                <a:extLst>
                  <a:ext uri="{FF2B5EF4-FFF2-40B4-BE49-F238E27FC236}">
                    <a16:creationId xmlns="" xmlns:a16="http://schemas.microsoft.com/office/drawing/2014/main" id="{B5BC2749-8958-470C-B99A-6BD4BEE25600}"/>
                  </a:ext>
                </a:extLst>
              </p:cNvPr>
              <p:cNvSpPr/>
              <p:nvPr/>
            </p:nvSpPr>
            <p:spPr>
              <a:xfrm rot="5400000">
                <a:off x="5067155" y="2342953"/>
                <a:ext cx="193674" cy="63896"/>
              </a:xfrm>
              <a:prstGeom prst="round2SameRect">
                <a:avLst>
                  <a:gd name="adj1" fmla="val 50000"/>
                  <a:gd name="adj2" fmla="val 0"/>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Isosceles Triangle 30">
                <a:extLst>
                  <a:ext uri="{FF2B5EF4-FFF2-40B4-BE49-F238E27FC236}">
                    <a16:creationId xmlns="" xmlns:a16="http://schemas.microsoft.com/office/drawing/2014/main" id="{6C44C614-2C6C-44BB-9B27-C97A1E92145D}"/>
                  </a:ext>
                </a:extLst>
              </p:cNvPr>
              <p:cNvSpPr/>
              <p:nvPr/>
            </p:nvSpPr>
            <p:spPr>
              <a:xfrm rot="5400000">
                <a:off x="5119290" y="2295184"/>
                <a:ext cx="184944" cy="159435"/>
              </a:xfrm>
              <a:prstGeom prst="triangle">
                <a:avLst/>
              </a:prstGeom>
              <a:solidFill>
                <a:srgbClr val="A53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Isosceles Triangle 31">
                <a:extLst>
                  <a:ext uri="{FF2B5EF4-FFF2-40B4-BE49-F238E27FC236}">
                    <a16:creationId xmlns="" xmlns:a16="http://schemas.microsoft.com/office/drawing/2014/main" id="{2037CBF3-F247-498F-8DD7-5910803D20F5}"/>
                  </a:ext>
                </a:extLst>
              </p:cNvPr>
              <p:cNvSpPr/>
              <p:nvPr/>
            </p:nvSpPr>
            <p:spPr>
              <a:xfrm rot="5400000">
                <a:off x="5068062" y="2321225"/>
                <a:ext cx="127066" cy="10954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47" name="Group 46">
            <a:extLst>
              <a:ext uri="{FF2B5EF4-FFF2-40B4-BE49-F238E27FC236}">
                <a16:creationId xmlns="" xmlns:a16="http://schemas.microsoft.com/office/drawing/2014/main" id="{DCCA5244-7CE1-4C00-89CF-F460567C02F3}"/>
              </a:ext>
            </a:extLst>
          </p:cNvPr>
          <p:cNvGrpSpPr/>
          <p:nvPr/>
        </p:nvGrpSpPr>
        <p:grpSpPr>
          <a:xfrm>
            <a:off x="4983669" y="5068381"/>
            <a:ext cx="6444069" cy="1877437"/>
            <a:chOff x="4911725" y="2108610"/>
            <a:chExt cx="6670676" cy="1877437"/>
          </a:xfrm>
        </p:grpSpPr>
        <p:sp>
          <p:nvSpPr>
            <p:cNvPr id="48" name="Rectangle 47">
              <a:extLst>
                <a:ext uri="{FF2B5EF4-FFF2-40B4-BE49-F238E27FC236}">
                  <a16:creationId xmlns="" xmlns:a16="http://schemas.microsoft.com/office/drawing/2014/main" id="{0E025770-E015-4BB1-98EE-B935D370CDAD}"/>
                </a:ext>
              </a:extLst>
            </p:cNvPr>
            <p:cNvSpPr/>
            <p:nvPr/>
          </p:nvSpPr>
          <p:spPr>
            <a:xfrm>
              <a:off x="5435600" y="2108610"/>
              <a:ext cx="6146801" cy="1877437"/>
            </a:xfrm>
            <a:prstGeom prst="rect">
              <a:avLst/>
            </a:prstGeom>
          </p:spPr>
          <p:txBody>
            <a:bodyPr wrap="square" lIns="0" tIns="0" rIns="0" bIns="0">
              <a:spAutoFit/>
            </a:bodyPr>
            <a:lstStyle/>
            <a:p>
              <a:r>
                <a:rPr lang="ru-RU" b="1" dirty="0" smtClean="0">
                  <a:latin typeface="Times New Roman" panose="02020603050405020304" pitchFamily="18" charset="0"/>
                  <a:cs typeface="Times New Roman" panose="02020603050405020304" pitchFamily="18" charset="0"/>
                </a:rPr>
                <a:t>Телоген</a:t>
              </a:r>
              <a:r>
                <a:rPr lang="ru-RU" dirty="0">
                  <a:latin typeface="Times New Roman" panose="02020603050405020304" pitchFamily="18" charset="0"/>
                  <a:cs typeface="Times New Roman" panose="02020603050405020304" pitchFamily="18" charset="0"/>
                </a:rPr>
                <a:t> (фаза отдыха) – период, в который волос отделяется от корня и медленно двигается к поверхности кожи. Длительность 2-4 месяца. В этот период происходит восстановление связи волосяной луковицы и волосяного сосочка, после чего жизненный цикл волоса вновь переходит в фазу роста.</a:t>
              </a:r>
            </a:p>
            <a:p>
              <a:endParaRPr lang="en-US" sz="1400" dirty="0"/>
            </a:p>
          </p:txBody>
        </p:sp>
        <p:sp>
          <p:nvSpPr>
            <p:cNvPr id="50" name="Oval 49">
              <a:extLst>
                <a:ext uri="{FF2B5EF4-FFF2-40B4-BE49-F238E27FC236}">
                  <a16:creationId xmlns="" xmlns:a16="http://schemas.microsoft.com/office/drawing/2014/main" id="{B621523B-F035-403E-A525-9646B34DDD59}"/>
                </a:ext>
              </a:extLst>
            </p:cNvPr>
            <p:cNvSpPr/>
            <p:nvPr/>
          </p:nvSpPr>
          <p:spPr>
            <a:xfrm>
              <a:off x="4911725" y="2171653"/>
              <a:ext cx="304800" cy="304800"/>
            </a:xfrm>
            <a:prstGeom prst="ellipse">
              <a:avLst/>
            </a:prstGeom>
            <a:solidFill>
              <a:srgbClr val="DBCB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60" name="Straight Connector 59">
            <a:extLst>
              <a:ext uri="{FF2B5EF4-FFF2-40B4-BE49-F238E27FC236}">
                <a16:creationId xmlns="" xmlns:a16="http://schemas.microsoft.com/office/drawing/2014/main" id="{55CEFE62-F4AE-435B-ADA2-3BFAE6D97F54}"/>
              </a:ext>
            </a:extLst>
          </p:cNvPr>
          <p:cNvCxnSpPr>
            <a:cxnSpLocks/>
          </p:cNvCxnSpPr>
          <p:nvPr/>
        </p:nvCxnSpPr>
        <p:spPr>
          <a:xfrm>
            <a:off x="5461000" y="3574337"/>
            <a:ext cx="674083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 xmlns:a16="http://schemas.microsoft.com/office/drawing/2014/main" id="{9F02B74C-EED4-4408-AD9C-B0D067B9F596}"/>
              </a:ext>
            </a:extLst>
          </p:cNvPr>
          <p:cNvCxnSpPr>
            <a:cxnSpLocks/>
          </p:cNvCxnSpPr>
          <p:nvPr/>
        </p:nvCxnSpPr>
        <p:spPr>
          <a:xfrm>
            <a:off x="5507544" y="5068381"/>
            <a:ext cx="6684456" cy="1"/>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1290" y="1397413"/>
            <a:ext cx="3694163" cy="5458855"/>
          </a:xfrm>
          <a:prstGeom prst="rect">
            <a:avLst/>
          </a:prstGeom>
        </p:spPr>
      </p:pic>
      <p:sp>
        <p:nvSpPr>
          <p:cNvPr id="63" name="Rectangle 6">
            <a:extLst>
              <a:ext uri="{FF2B5EF4-FFF2-40B4-BE49-F238E27FC236}">
                <a16:creationId xmlns="" xmlns:a16="http://schemas.microsoft.com/office/drawing/2014/main" id="{B018D872-74EC-4C12-835A-5F484647A850}"/>
              </a:ext>
            </a:extLst>
          </p:cNvPr>
          <p:cNvSpPr/>
          <p:nvPr/>
        </p:nvSpPr>
        <p:spPr>
          <a:xfrm rot="16200000">
            <a:off x="7608574" y="2218299"/>
            <a:ext cx="6780042" cy="2499360"/>
          </a:xfrm>
          <a:custGeom>
            <a:avLst/>
            <a:gdLst>
              <a:gd name="connsiteX0" fmla="*/ 0 w 6780042"/>
              <a:gd name="connsiteY0" fmla="*/ 0 h 6858000"/>
              <a:gd name="connsiteX1" fmla="*/ 6780042 w 6780042"/>
              <a:gd name="connsiteY1" fmla="*/ 0 h 6858000"/>
              <a:gd name="connsiteX2" fmla="*/ 6780042 w 6780042"/>
              <a:gd name="connsiteY2" fmla="*/ 6858000 h 6858000"/>
              <a:gd name="connsiteX3" fmla="*/ 0 w 6780042"/>
              <a:gd name="connsiteY3" fmla="*/ 6858000 h 6858000"/>
              <a:gd name="connsiteX4" fmla="*/ 0 w 6780042"/>
              <a:gd name="connsiteY4" fmla="*/ 0 h 6858000"/>
              <a:gd name="connsiteX0" fmla="*/ 0 w 6780042"/>
              <a:gd name="connsiteY0" fmla="*/ 0 h 6858000"/>
              <a:gd name="connsiteX1" fmla="*/ 2025162 w 6780042"/>
              <a:gd name="connsiteY1" fmla="*/ 4572000 h 6858000"/>
              <a:gd name="connsiteX2" fmla="*/ 6780042 w 6780042"/>
              <a:gd name="connsiteY2" fmla="*/ 6858000 h 6858000"/>
              <a:gd name="connsiteX3" fmla="*/ 0 w 6780042"/>
              <a:gd name="connsiteY3" fmla="*/ 6858000 h 6858000"/>
              <a:gd name="connsiteX4" fmla="*/ 0 w 6780042"/>
              <a:gd name="connsiteY4" fmla="*/ 0 h 6858000"/>
              <a:gd name="connsiteX0" fmla="*/ 0 w 6780042"/>
              <a:gd name="connsiteY0" fmla="*/ 0 h 6858000"/>
              <a:gd name="connsiteX1" fmla="*/ 2011095 w 6780042"/>
              <a:gd name="connsiteY1" fmla="*/ 4529797 h 6858000"/>
              <a:gd name="connsiteX2" fmla="*/ 6780042 w 6780042"/>
              <a:gd name="connsiteY2" fmla="*/ 6858000 h 6858000"/>
              <a:gd name="connsiteX3" fmla="*/ 0 w 6780042"/>
              <a:gd name="connsiteY3" fmla="*/ 6858000 h 6858000"/>
              <a:gd name="connsiteX4" fmla="*/ 0 w 6780042"/>
              <a:gd name="connsiteY4" fmla="*/ 0 h 6858000"/>
              <a:gd name="connsiteX0" fmla="*/ 0 w 6780042"/>
              <a:gd name="connsiteY0" fmla="*/ 0 h 6858000"/>
              <a:gd name="connsiteX1" fmla="*/ 533987 w 6780042"/>
              <a:gd name="connsiteY1" fmla="*/ 6274190 h 6858000"/>
              <a:gd name="connsiteX2" fmla="*/ 6780042 w 6780042"/>
              <a:gd name="connsiteY2" fmla="*/ 6858000 h 6858000"/>
              <a:gd name="connsiteX3" fmla="*/ 0 w 6780042"/>
              <a:gd name="connsiteY3" fmla="*/ 6858000 h 6858000"/>
              <a:gd name="connsiteX4" fmla="*/ 0 w 6780042"/>
              <a:gd name="connsiteY4" fmla="*/ 0 h 6858000"/>
              <a:gd name="connsiteX0" fmla="*/ 0 w 6780042"/>
              <a:gd name="connsiteY0" fmla="*/ 0 h 6858000"/>
              <a:gd name="connsiteX1" fmla="*/ 759071 w 6780042"/>
              <a:gd name="connsiteY1" fmla="*/ 5231980 h 6858000"/>
              <a:gd name="connsiteX2" fmla="*/ 6780042 w 6780042"/>
              <a:gd name="connsiteY2" fmla="*/ 6858000 h 6858000"/>
              <a:gd name="connsiteX3" fmla="*/ 0 w 6780042"/>
              <a:gd name="connsiteY3" fmla="*/ 6858000 h 6858000"/>
              <a:gd name="connsiteX4" fmla="*/ 0 w 678004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0042" h="6858000">
                <a:moveTo>
                  <a:pt x="0" y="0"/>
                </a:moveTo>
                <a:lnTo>
                  <a:pt x="759071" y="5231980"/>
                </a:lnTo>
                <a:lnTo>
                  <a:pt x="6780042" y="6858000"/>
                </a:lnTo>
                <a:lnTo>
                  <a:pt x="0" y="6858000"/>
                </a:lnTo>
                <a:lnTo>
                  <a:pt x="0" y="0"/>
                </a:lnTo>
                <a:close/>
              </a:path>
            </a:pathLst>
          </a:custGeom>
          <a:solidFill>
            <a:srgbClr val="A53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Isosceles Triangle 20">
            <a:extLst>
              <a:ext uri="{FF2B5EF4-FFF2-40B4-BE49-F238E27FC236}">
                <a16:creationId xmlns="" xmlns:a16="http://schemas.microsoft.com/office/drawing/2014/main" id="{0C42278B-1FBB-45F7-8F1B-0F911C6CC342}"/>
              </a:ext>
            </a:extLst>
          </p:cNvPr>
          <p:cNvSpPr/>
          <p:nvPr/>
        </p:nvSpPr>
        <p:spPr>
          <a:xfrm rot="5400000">
            <a:off x="5136247" y="5244227"/>
            <a:ext cx="184944" cy="168318"/>
          </a:xfrm>
          <a:prstGeom prst="triangle">
            <a:avLst/>
          </a:prstGeom>
          <a:solidFill>
            <a:srgbClr val="A53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35677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47419" y="675152"/>
            <a:ext cx="7178797" cy="907366"/>
          </a:xfrm>
        </p:spPr>
        <p:txBody>
          <a:bodyPr>
            <a:noAutofit/>
          </a:bodyPr>
          <a:lstStyle/>
          <a:p>
            <a:pPr algn="ctr"/>
            <a:r>
              <a:rPr lang="ru-RU" sz="4800" b="1" dirty="0">
                <a:latin typeface="Times New Roman" panose="02020603050405020304" pitchFamily="18" charset="0"/>
                <a:cs typeface="Times New Roman" panose="02020603050405020304" pitchFamily="18" charset="0"/>
              </a:rPr>
              <a:t>Цвет локонов</a:t>
            </a:r>
            <a:r>
              <a:rPr lang="ru-RU" sz="4800" dirty="0">
                <a:latin typeface="Times New Roman" panose="02020603050405020304" pitchFamily="18" charset="0"/>
                <a:cs typeface="Times New Roman" panose="02020603050405020304" pitchFamily="18" charset="0"/>
              </a:rPr>
              <a:t/>
            </a:r>
            <a:br>
              <a:rPr lang="ru-RU" sz="4800" dirty="0">
                <a:latin typeface="Times New Roman" panose="02020603050405020304" pitchFamily="18" charset="0"/>
                <a:cs typeface="Times New Roman" panose="02020603050405020304" pitchFamily="18" charset="0"/>
              </a:rPr>
            </a:br>
            <a:endParaRPr lang="ru-RU" sz="4800" dirty="0">
              <a:latin typeface="Times New Roman" panose="02020603050405020304" pitchFamily="18" charset="0"/>
              <a:cs typeface="Times New Roman" panose="02020603050405020304" pitchFamily="18" charset="0"/>
            </a:endParaRPr>
          </a:p>
        </p:txBody>
      </p:sp>
      <p:sp>
        <p:nvSpPr>
          <p:cNvPr id="4" name="Текст 3"/>
          <p:cNvSpPr>
            <a:spLocks noGrp="1"/>
          </p:cNvSpPr>
          <p:nvPr>
            <p:ph type="body" sz="half" idx="2"/>
          </p:nvPr>
        </p:nvSpPr>
        <p:spPr>
          <a:xfrm>
            <a:off x="677698" y="831573"/>
            <a:ext cx="5235855" cy="1180107"/>
          </a:xfrm>
        </p:spPr>
        <p:txBody>
          <a:bodyPr>
            <a:normAutofit lnSpcReduction="10000"/>
          </a:bodyPr>
          <a:lstStyle/>
          <a:p>
            <a:pPr algn="ctr">
              <a:lnSpc>
                <a:spcPct val="120000"/>
              </a:lnSpc>
              <a:spcBef>
                <a:spcPts val="0"/>
              </a:spcBef>
            </a:pPr>
            <a:r>
              <a:rPr lang="ru-RU" sz="2000" dirty="0" err="1">
                <a:latin typeface="Times New Roman" panose="02020603050405020304" pitchFamily="18" charset="0"/>
                <a:cs typeface="Times New Roman" panose="02020603050405020304" pitchFamily="18" charset="0"/>
              </a:rPr>
              <a:t>Трихологи</a:t>
            </a:r>
            <a:r>
              <a:rPr lang="ru-RU" sz="2000" dirty="0">
                <a:latin typeface="Times New Roman" panose="02020603050405020304" pitchFamily="18" charset="0"/>
                <a:cs typeface="Times New Roman" panose="02020603050405020304" pitchFamily="18" charset="0"/>
              </a:rPr>
              <a:t> различают более 50 оттенков прядей, однако наиболее распространенными считаются </a:t>
            </a:r>
            <a:r>
              <a:rPr lang="ru-RU" sz="2000" dirty="0" smtClean="0">
                <a:latin typeface="Times New Roman" panose="02020603050405020304" pitchFamily="18" charset="0"/>
                <a:cs typeface="Times New Roman" panose="02020603050405020304" pitchFamily="18" charset="0"/>
              </a:rPr>
              <a:t>следующие  цвета:</a:t>
            </a:r>
          </a:p>
          <a:p>
            <a:pPr algn="ctr">
              <a:lnSpc>
                <a:spcPct val="120000"/>
              </a:lnSpc>
              <a:spcBef>
                <a:spcPts val="0"/>
              </a:spcBef>
            </a:pPr>
            <a:endParaRPr lang="ru-RU" sz="3200" dirty="0">
              <a:latin typeface="Times New Roman" panose="02020603050405020304" pitchFamily="18" charset="0"/>
              <a:cs typeface="Times New Roman" panose="02020603050405020304" pitchFamily="18" charset="0"/>
            </a:endParaRPr>
          </a:p>
          <a:p>
            <a:pPr>
              <a:lnSpc>
                <a:spcPct val="120000"/>
              </a:lnSpc>
              <a:spcBef>
                <a:spcPts val="0"/>
              </a:spcBef>
            </a:pPr>
            <a:endParaRPr lang="ru-RU" dirty="0"/>
          </a:p>
        </p:txBody>
      </p:sp>
      <p:sp>
        <p:nvSpPr>
          <p:cNvPr id="5" name="Rectangle 6">
            <a:extLst>
              <a:ext uri="{FF2B5EF4-FFF2-40B4-BE49-F238E27FC236}">
                <a16:creationId xmlns="" xmlns:a16="http://schemas.microsoft.com/office/drawing/2014/main" id="{B018D872-74EC-4C12-835A-5F484647A850}"/>
              </a:ext>
            </a:extLst>
          </p:cNvPr>
          <p:cNvSpPr/>
          <p:nvPr/>
        </p:nvSpPr>
        <p:spPr>
          <a:xfrm>
            <a:off x="14757" y="0"/>
            <a:ext cx="6780042" cy="6858000"/>
          </a:xfrm>
          <a:custGeom>
            <a:avLst/>
            <a:gdLst>
              <a:gd name="connsiteX0" fmla="*/ 0 w 6780042"/>
              <a:gd name="connsiteY0" fmla="*/ 0 h 6858000"/>
              <a:gd name="connsiteX1" fmla="*/ 6780042 w 6780042"/>
              <a:gd name="connsiteY1" fmla="*/ 0 h 6858000"/>
              <a:gd name="connsiteX2" fmla="*/ 6780042 w 6780042"/>
              <a:gd name="connsiteY2" fmla="*/ 6858000 h 6858000"/>
              <a:gd name="connsiteX3" fmla="*/ 0 w 6780042"/>
              <a:gd name="connsiteY3" fmla="*/ 6858000 h 6858000"/>
              <a:gd name="connsiteX4" fmla="*/ 0 w 6780042"/>
              <a:gd name="connsiteY4" fmla="*/ 0 h 6858000"/>
              <a:gd name="connsiteX0" fmla="*/ 0 w 6780042"/>
              <a:gd name="connsiteY0" fmla="*/ 0 h 6858000"/>
              <a:gd name="connsiteX1" fmla="*/ 2025162 w 6780042"/>
              <a:gd name="connsiteY1" fmla="*/ 4572000 h 6858000"/>
              <a:gd name="connsiteX2" fmla="*/ 6780042 w 6780042"/>
              <a:gd name="connsiteY2" fmla="*/ 6858000 h 6858000"/>
              <a:gd name="connsiteX3" fmla="*/ 0 w 6780042"/>
              <a:gd name="connsiteY3" fmla="*/ 6858000 h 6858000"/>
              <a:gd name="connsiteX4" fmla="*/ 0 w 6780042"/>
              <a:gd name="connsiteY4" fmla="*/ 0 h 6858000"/>
              <a:gd name="connsiteX0" fmla="*/ 0 w 6780042"/>
              <a:gd name="connsiteY0" fmla="*/ 0 h 6858000"/>
              <a:gd name="connsiteX1" fmla="*/ 2011095 w 6780042"/>
              <a:gd name="connsiteY1" fmla="*/ 4529797 h 6858000"/>
              <a:gd name="connsiteX2" fmla="*/ 6780042 w 6780042"/>
              <a:gd name="connsiteY2" fmla="*/ 6858000 h 6858000"/>
              <a:gd name="connsiteX3" fmla="*/ 0 w 6780042"/>
              <a:gd name="connsiteY3" fmla="*/ 6858000 h 6858000"/>
              <a:gd name="connsiteX4" fmla="*/ 0 w 6780042"/>
              <a:gd name="connsiteY4" fmla="*/ 0 h 6858000"/>
              <a:gd name="connsiteX0" fmla="*/ 0 w 6780042"/>
              <a:gd name="connsiteY0" fmla="*/ 0 h 6858000"/>
              <a:gd name="connsiteX1" fmla="*/ 533987 w 6780042"/>
              <a:gd name="connsiteY1" fmla="*/ 6274190 h 6858000"/>
              <a:gd name="connsiteX2" fmla="*/ 6780042 w 6780042"/>
              <a:gd name="connsiteY2" fmla="*/ 6858000 h 6858000"/>
              <a:gd name="connsiteX3" fmla="*/ 0 w 6780042"/>
              <a:gd name="connsiteY3" fmla="*/ 6858000 h 6858000"/>
              <a:gd name="connsiteX4" fmla="*/ 0 w 678004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0042" h="6858000">
                <a:moveTo>
                  <a:pt x="0" y="0"/>
                </a:moveTo>
                <a:lnTo>
                  <a:pt x="533987" y="6274190"/>
                </a:lnTo>
                <a:lnTo>
                  <a:pt x="6780042" y="6858000"/>
                </a:lnTo>
                <a:lnTo>
                  <a:pt x="0" y="6858000"/>
                </a:lnTo>
                <a:lnTo>
                  <a:pt x="0" y="0"/>
                </a:lnTo>
                <a:close/>
              </a:path>
            </a:pathLst>
          </a:custGeom>
          <a:solidFill>
            <a:srgbClr val="DBCB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 xmlns:a16="http://schemas.microsoft.com/office/drawing/2014/main" id="{B018D872-74EC-4C12-835A-5F484647A850}"/>
              </a:ext>
            </a:extLst>
          </p:cNvPr>
          <p:cNvSpPr/>
          <p:nvPr/>
        </p:nvSpPr>
        <p:spPr>
          <a:xfrm rot="10800000">
            <a:off x="-1" y="-42398"/>
            <a:ext cx="12234202" cy="6931831"/>
          </a:xfrm>
          <a:custGeom>
            <a:avLst/>
            <a:gdLst>
              <a:gd name="connsiteX0" fmla="*/ 0 w 11183126"/>
              <a:gd name="connsiteY0" fmla="*/ 0 h 6916446"/>
              <a:gd name="connsiteX1" fmla="*/ 11183126 w 11183126"/>
              <a:gd name="connsiteY1" fmla="*/ 0 h 6916446"/>
              <a:gd name="connsiteX2" fmla="*/ 11183126 w 11183126"/>
              <a:gd name="connsiteY2" fmla="*/ 6916446 h 6916446"/>
              <a:gd name="connsiteX3" fmla="*/ 0 w 11183126"/>
              <a:gd name="connsiteY3" fmla="*/ 6916446 h 6916446"/>
              <a:gd name="connsiteX4" fmla="*/ 0 w 11183126"/>
              <a:gd name="connsiteY4" fmla="*/ 0 h 6916446"/>
              <a:gd name="connsiteX0" fmla="*/ 14067 w 11197193"/>
              <a:gd name="connsiteY0" fmla="*/ 0 h 6916446"/>
              <a:gd name="connsiteX1" fmla="*/ 11197193 w 11197193"/>
              <a:gd name="connsiteY1" fmla="*/ 0 h 6916446"/>
              <a:gd name="connsiteX2" fmla="*/ 11197193 w 11197193"/>
              <a:gd name="connsiteY2" fmla="*/ 6916446 h 6916446"/>
              <a:gd name="connsiteX3" fmla="*/ 0 w 11197193"/>
              <a:gd name="connsiteY3" fmla="*/ 6888311 h 6916446"/>
              <a:gd name="connsiteX4" fmla="*/ 14067 w 11197193"/>
              <a:gd name="connsiteY4" fmla="*/ 0 h 6916446"/>
              <a:gd name="connsiteX0" fmla="*/ 1181685 w 11197193"/>
              <a:gd name="connsiteY0" fmla="*/ 6147581 h 6916446"/>
              <a:gd name="connsiteX1" fmla="*/ 11197193 w 11197193"/>
              <a:gd name="connsiteY1" fmla="*/ 0 h 6916446"/>
              <a:gd name="connsiteX2" fmla="*/ 11197193 w 11197193"/>
              <a:gd name="connsiteY2" fmla="*/ 6916446 h 6916446"/>
              <a:gd name="connsiteX3" fmla="*/ 0 w 11197193"/>
              <a:gd name="connsiteY3" fmla="*/ 6888311 h 6916446"/>
              <a:gd name="connsiteX4" fmla="*/ 1181685 w 11197193"/>
              <a:gd name="connsiteY4" fmla="*/ 6147581 h 6916446"/>
              <a:gd name="connsiteX0" fmla="*/ 1181685 w 11197193"/>
              <a:gd name="connsiteY0" fmla="*/ 6147581 h 6916446"/>
              <a:gd name="connsiteX1" fmla="*/ 11197193 w 11197193"/>
              <a:gd name="connsiteY1" fmla="*/ 0 h 6916446"/>
              <a:gd name="connsiteX2" fmla="*/ 11197193 w 11197193"/>
              <a:gd name="connsiteY2" fmla="*/ 6916446 h 6916446"/>
              <a:gd name="connsiteX3" fmla="*/ 0 w 11197193"/>
              <a:gd name="connsiteY3" fmla="*/ 6888311 h 6916446"/>
              <a:gd name="connsiteX4" fmla="*/ 1181685 w 11197193"/>
              <a:gd name="connsiteY4" fmla="*/ 6147581 h 6916446"/>
              <a:gd name="connsiteX0" fmla="*/ 1181685 w 11197193"/>
              <a:gd name="connsiteY0" fmla="*/ 6164402 h 6933267"/>
              <a:gd name="connsiteX1" fmla="*/ 9242472 w 11197193"/>
              <a:gd name="connsiteY1" fmla="*/ 5716533 h 6933267"/>
              <a:gd name="connsiteX2" fmla="*/ 11197193 w 11197193"/>
              <a:gd name="connsiteY2" fmla="*/ 16821 h 6933267"/>
              <a:gd name="connsiteX3" fmla="*/ 11197193 w 11197193"/>
              <a:gd name="connsiteY3" fmla="*/ 6933267 h 6933267"/>
              <a:gd name="connsiteX4" fmla="*/ 0 w 11197193"/>
              <a:gd name="connsiteY4" fmla="*/ 6905132 h 6933267"/>
              <a:gd name="connsiteX5" fmla="*/ 1181685 w 11197193"/>
              <a:gd name="connsiteY5" fmla="*/ 6164402 h 6933267"/>
              <a:gd name="connsiteX0" fmla="*/ 1111347 w 11197193"/>
              <a:gd name="connsiteY0" fmla="*/ 6656771 h 6933267"/>
              <a:gd name="connsiteX1" fmla="*/ 9242472 w 11197193"/>
              <a:gd name="connsiteY1" fmla="*/ 5716533 h 6933267"/>
              <a:gd name="connsiteX2" fmla="*/ 11197193 w 11197193"/>
              <a:gd name="connsiteY2" fmla="*/ 16821 h 6933267"/>
              <a:gd name="connsiteX3" fmla="*/ 11197193 w 11197193"/>
              <a:gd name="connsiteY3" fmla="*/ 6933267 h 6933267"/>
              <a:gd name="connsiteX4" fmla="*/ 0 w 11197193"/>
              <a:gd name="connsiteY4" fmla="*/ 6905132 h 6933267"/>
              <a:gd name="connsiteX5" fmla="*/ 1111347 w 11197193"/>
              <a:gd name="connsiteY5" fmla="*/ 6656771 h 6933267"/>
              <a:gd name="connsiteX0" fmla="*/ 1111347 w 11197193"/>
              <a:gd name="connsiteY0" fmla="*/ 6655335 h 6931831"/>
              <a:gd name="connsiteX1" fmla="*/ 10353820 w 11197193"/>
              <a:gd name="connsiteY1" fmla="*/ 6207466 h 6931831"/>
              <a:gd name="connsiteX2" fmla="*/ 11197193 w 11197193"/>
              <a:gd name="connsiteY2" fmla="*/ 15385 h 6931831"/>
              <a:gd name="connsiteX3" fmla="*/ 11197193 w 11197193"/>
              <a:gd name="connsiteY3" fmla="*/ 6931831 h 6931831"/>
              <a:gd name="connsiteX4" fmla="*/ 0 w 11197193"/>
              <a:gd name="connsiteY4" fmla="*/ 6903696 h 6931831"/>
              <a:gd name="connsiteX5" fmla="*/ 1111347 w 11197193"/>
              <a:gd name="connsiteY5" fmla="*/ 6655335 h 6931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97193" h="6931831">
                <a:moveTo>
                  <a:pt x="1111347" y="6655335"/>
                </a:moveTo>
                <a:cubicBezTo>
                  <a:pt x="2131254" y="6316558"/>
                  <a:pt x="8684569" y="7232063"/>
                  <a:pt x="10353820" y="6207466"/>
                </a:cubicBezTo>
                <a:cubicBezTo>
                  <a:pt x="12023071" y="5182869"/>
                  <a:pt x="10350902" y="-328081"/>
                  <a:pt x="11197193" y="15385"/>
                </a:cubicBezTo>
                <a:lnTo>
                  <a:pt x="11197193" y="6931831"/>
                </a:lnTo>
                <a:lnTo>
                  <a:pt x="0" y="6903696"/>
                </a:lnTo>
                <a:lnTo>
                  <a:pt x="1111347" y="6655335"/>
                </a:lnTo>
                <a:close/>
              </a:path>
            </a:pathLst>
          </a:custGeom>
          <a:solidFill>
            <a:srgbClr val="A53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Объект 15"/>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6243832" y="675152"/>
            <a:ext cx="5754516" cy="5739716"/>
          </a:xfrm>
        </p:spPr>
      </p:pic>
      <p:sp>
        <p:nvSpPr>
          <p:cNvPr id="14" name="Прямоугольник 13"/>
          <p:cNvSpPr/>
          <p:nvPr/>
        </p:nvSpPr>
        <p:spPr>
          <a:xfrm>
            <a:off x="364981" y="1917754"/>
            <a:ext cx="2859001" cy="702276"/>
          </a:xfrm>
          <a:prstGeom prst="rect">
            <a:avLst/>
          </a:prstGeom>
          <a:solidFill>
            <a:srgbClr val="DBCB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dirty="0">
                <a:latin typeface="Times New Roman" panose="02020603050405020304" pitchFamily="18" charset="0"/>
                <a:cs typeface="Times New Roman" panose="02020603050405020304" pitchFamily="18" charset="0"/>
              </a:rPr>
              <a:t>Пепельный</a:t>
            </a:r>
            <a:endParaRPr lang="ru-RU" sz="2000" dirty="0"/>
          </a:p>
        </p:txBody>
      </p:sp>
      <p:sp>
        <p:nvSpPr>
          <p:cNvPr id="15" name="Прямоугольник 14"/>
          <p:cNvSpPr/>
          <p:nvPr/>
        </p:nvSpPr>
        <p:spPr>
          <a:xfrm>
            <a:off x="364982" y="2636415"/>
            <a:ext cx="2858998" cy="700969"/>
          </a:xfrm>
          <a:prstGeom prst="rect">
            <a:avLst/>
          </a:prstGeom>
          <a:solidFill>
            <a:srgbClr val="A53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dirty="0">
                <a:latin typeface="Times New Roman" panose="02020603050405020304" pitchFamily="18" charset="0"/>
                <a:cs typeface="Times New Roman" panose="02020603050405020304" pitchFamily="18" charset="0"/>
              </a:rPr>
              <a:t>Светлый шатен</a:t>
            </a:r>
            <a:endParaRPr lang="ru-RU" sz="2000" dirty="0"/>
          </a:p>
        </p:txBody>
      </p:sp>
      <p:sp>
        <p:nvSpPr>
          <p:cNvPr id="17" name="Прямоугольник 16"/>
          <p:cNvSpPr/>
          <p:nvPr/>
        </p:nvSpPr>
        <p:spPr>
          <a:xfrm>
            <a:off x="364981" y="3335047"/>
            <a:ext cx="2873758" cy="732911"/>
          </a:xfrm>
          <a:prstGeom prst="rect">
            <a:avLst/>
          </a:prstGeom>
          <a:solidFill>
            <a:srgbClr val="DBCB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dirty="0">
                <a:latin typeface="Times New Roman" panose="02020603050405020304" pitchFamily="18" charset="0"/>
                <a:cs typeface="Times New Roman" panose="02020603050405020304" pitchFamily="18" charset="0"/>
              </a:rPr>
              <a:t>Светло-каштановый</a:t>
            </a:r>
            <a:endParaRPr lang="ru-RU" sz="2000" dirty="0">
              <a:latin typeface="Times New Roman" panose="02020603050405020304" pitchFamily="18" charset="0"/>
              <a:cs typeface="Times New Roman" panose="02020603050405020304" pitchFamily="18" charset="0"/>
            </a:endParaRPr>
          </a:p>
        </p:txBody>
      </p:sp>
      <p:sp>
        <p:nvSpPr>
          <p:cNvPr id="18" name="Прямоугольник 17"/>
          <p:cNvSpPr/>
          <p:nvPr/>
        </p:nvSpPr>
        <p:spPr>
          <a:xfrm>
            <a:off x="3223980" y="1917754"/>
            <a:ext cx="2850427" cy="718661"/>
          </a:xfrm>
          <a:prstGeom prst="rect">
            <a:avLst/>
          </a:prstGeom>
          <a:solidFill>
            <a:srgbClr val="A53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dirty="0">
                <a:latin typeface="Times New Roman" panose="02020603050405020304" pitchFamily="18" charset="0"/>
                <a:cs typeface="Times New Roman" panose="02020603050405020304" pitchFamily="18" charset="0"/>
              </a:rPr>
              <a:t>Темный шатен</a:t>
            </a:r>
            <a:endParaRPr lang="ru-RU" sz="2000" dirty="0">
              <a:latin typeface="Times New Roman" panose="02020603050405020304" pitchFamily="18" charset="0"/>
              <a:cs typeface="Times New Roman" panose="02020603050405020304" pitchFamily="18" charset="0"/>
            </a:endParaRPr>
          </a:p>
        </p:txBody>
      </p:sp>
      <p:sp>
        <p:nvSpPr>
          <p:cNvPr id="19" name="Прямоугольник 18"/>
          <p:cNvSpPr/>
          <p:nvPr/>
        </p:nvSpPr>
        <p:spPr>
          <a:xfrm>
            <a:off x="3238739" y="2636415"/>
            <a:ext cx="2844239" cy="700969"/>
          </a:xfrm>
          <a:prstGeom prst="rect">
            <a:avLst/>
          </a:prstGeom>
          <a:solidFill>
            <a:srgbClr val="DBCB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dirty="0">
                <a:latin typeface="Times New Roman" panose="02020603050405020304" pitchFamily="18" charset="0"/>
                <a:cs typeface="Times New Roman" panose="02020603050405020304" pitchFamily="18" charset="0"/>
              </a:rPr>
              <a:t>Русый</a:t>
            </a:r>
            <a:endParaRPr lang="ru-RU" sz="2000" dirty="0">
              <a:latin typeface="Times New Roman" panose="02020603050405020304" pitchFamily="18" charset="0"/>
              <a:cs typeface="Times New Roman" panose="02020603050405020304" pitchFamily="18" charset="0"/>
            </a:endParaRPr>
          </a:p>
        </p:txBody>
      </p:sp>
      <p:sp>
        <p:nvSpPr>
          <p:cNvPr id="20" name="Прямоугольник 19"/>
          <p:cNvSpPr/>
          <p:nvPr/>
        </p:nvSpPr>
        <p:spPr>
          <a:xfrm>
            <a:off x="3238738" y="3337384"/>
            <a:ext cx="2835669" cy="728179"/>
          </a:xfrm>
          <a:prstGeom prst="rect">
            <a:avLst/>
          </a:prstGeom>
          <a:solidFill>
            <a:srgbClr val="A53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dirty="0">
                <a:latin typeface="Times New Roman" panose="02020603050405020304" pitchFamily="18" charset="0"/>
                <a:cs typeface="Times New Roman" panose="02020603050405020304" pitchFamily="18" charset="0"/>
              </a:rPr>
              <a:t>Темно-каштановый</a:t>
            </a:r>
            <a:endParaRPr lang="ru-RU" sz="2000" dirty="0">
              <a:latin typeface="Times New Roman" panose="02020603050405020304" pitchFamily="18" charset="0"/>
              <a:cs typeface="Times New Roman" panose="02020603050405020304" pitchFamily="18" charset="0"/>
            </a:endParaRPr>
          </a:p>
        </p:txBody>
      </p:sp>
      <p:sp>
        <p:nvSpPr>
          <p:cNvPr id="21" name="Прямоугольник 20"/>
          <p:cNvSpPr/>
          <p:nvPr/>
        </p:nvSpPr>
        <p:spPr>
          <a:xfrm>
            <a:off x="1801860" y="4036016"/>
            <a:ext cx="2876561" cy="718824"/>
          </a:xfrm>
          <a:prstGeom prst="rect">
            <a:avLst/>
          </a:prstGeom>
          <a:solidFill>
            <a:srgbClr val="A53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ru-RU" sz="2000" dirty="0" smtClean="0">
                <a:latin typeface="Times New Roman" panose="02020603050405020304" pitchFamily="18" charset="0"/>
                <a:cs typeface="Times New Roman" panose="02020603050405020304" pitchFamily="18" charset="0"/>
              </a:rPr>
              <a:t>Черный</a:t>
            </a:r>
            <a:endParaRPr lang="ru-RU" sz="2000" dirty="0">
              <a:latin typeface="Times New Roman" panose="02020603050405020304" pitchFamily="18" charset="0"/>
              <a:cs typeface="Times New Roman" panose="02020603050405020304" pitchFamily="18" charset="0"/>
            </a:endParaRPr>
          </a:p>
        </p:txBody>
      </p:sp>
      <p:pic>
        <p:nvPicPr>
          <p:cNvPr id="23" name="Рисунок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32013" y="4857956"/>
            <a:ext cx="1781408" cy="1597045"/>
          </a:xfrm>
          <a:prstGeom prst="rect">
            <a:avLst/>
          </a:prstGeom>
        </p:spPr>
      </p:pic>
      <p:pic>
        <p:nvPicPr>
          <p:cNvPr id="24" name="Рисунок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1882" y="4471750"/>
            <a:ext cx="1057122" cy="1130412"/>
          </a:xfrm>
          <a:prstGeom prst="rect">
            <a:avLst/>
          </a:prstGeom>
        </p:spPr>
      </p:pic>
      <p:pic>
        <p:nvPicPr>
          <p:cNvPr id="25" name="Рисунок 2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48857" y="4892258"/>
            <a:ext cx="1268398" cy="1448024"/>
          </a:xfrm>
          <a:prstGeom prst="rect">
            <a:avLst/>
          </a:prstGeom>
        </p:spPr>
      </p:pic>
      <p:pic>
        <p:nvPicPr>
          <p:cNvPr id="26" name="Рисунок 2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20591" y="4892258"/>
            <a:ext cx="1358730" cy="1245030"/>
          </a:xfrm>
          <a:prstGeom prst="rect">
            <a:avLst/>
          </a:prstGeom>
        </p:spPr>
      </p:pic>
    </p:spTree>
    <p:extLst>
      <p:ext uri="{BB962C8B-B14F-4D97-AF65-F5344CB8AC3E}">
        <p14:creationId xmlns:p14="http://schemas.microsoft.com/office/powerpoint/2010/main" val="399704869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a:extLst>
              <a:ext uri="{FF2B5EF4-FFF2-40B4-BE49-F238E27FC236}">
                <a16:creationId xmlns="" xmlns:a16="http://schemas.microsoft.com/office/drawing/2014/main" id="{B018D872-74EC-4C12-835A-5F484647A850}"/>
              </a:ext>
            </a:extLst>
          </p:cNvPr>
          <p:cNvSpPr/>
          <p:nvPr/>
        </p:nvSpPr>
        <p:spPr>
          <a:xfrm>
            <a:off x="14757" y="0"/>
            <a:ext cx="6780042" cy="6858000"/>
          </a:xfrm>
          <a:custGeom>
            <a:avLst/>
            <a:gdLst>
              <a:gd name="connsiteX0" fmla="*/ 0 w 6780042"/>
              <a:gd name="connsiteY0" fmla="*/ 0 h 6858000"/>
              <a:gd name="connsiteX1" fmla="*/ 6780042 w 6780042"/>
              <a:gd name="connsiteY1" fmla="*/ 0 h 6858000"/>
              <a:gd name="connsiteX2" fmla="*/ 6780042 w 6780042"/>
              <a:gd name="connsiteY2" fmla="*/ 6858000 h 6858000"/>
              <a:gd name="connsiteX3" fmla="*/ 0 w 6780042"/>
              <a:gd name="connsiteY3" fmla="*/ 6858000 h 6858000"/>
              <a:gd name="connsiteX4" fmla="*/ 0 w 6780042"/>
              <a:gd name="connsiteY4" fmla="*/ 0 h 6858000"/>
              <a:gd name="connsiteX0" fmla="*/ 0 w 6780042"/>
              <a:gd name="connsiteY0" fmla="*/ 0 h 6858000"/>
              <a:gd name="connsiteX1" fmla="*/ 2025162 w 6780042"/>
              <a:gd name="connsiteY1" fmla="*/ 4572000 h 6858000"/>
              <a:gd name="connsiteX2" fmla="*/ 6780042 w 6780042"/>
              <a:gd name="connsiteY2" fmla="*/ 6858000 h 6858000"/>
              <a:gd name="connsiteX3" fmla="*/ 0 w 6780042"/>
              <a:gd name="connsiteY3" fmla="*/ 6858000 h 6858000"/>
              <a:gd name="connsiteX4" fmla="*/ 0 w 6780042"/>
              <a:gd name="connsiteY4" fmla="*/ 0 h 6858000"/>
              <a:gd name="connsiteX0" fmla="*/ 0 w 6780042"/>
              <a:gd name="connsiteY0" fmla="*/ 0 h 6858000"/>
              <a:gd name="connsiteX1" fmla="*/ 2011095 w 6780042"/>
              <a:gd name="connsiteY1" fmla="*/ 4529797 h 6858000"/>
              <a:gd name="connsiteX2" fmla="*/ 6780042 w 6780042"/>
              <a:gd name="connsiteY2" fmla="*/ 6858000 h 6858000"/>
              <a:gd name="connsiteX3" fmla="*/ 0 w 6780042"/>
              <a:gd name="connsiteY3" fmla="*/ 6858000 h 6858000"/>
              <a:gd name="connsiteX4" fmla="*/ 0 w 6780042"/>
              <a:gd name="connsiteY4" fmla="*/ 0 h 6858000"/>
              <a:gd name="connsiteX0" fmla="*/ 0 w 6780042"/>
              <a:gd name="connsiteY0" fmla="*/ 0 h 6858000"/>
              <a:gd name="connsiteX1" fmla="*/ 533987 w 6780042"/>
              <a:gd name="connsiteY1" fmla="*/ 6274190 h 6858000"/>
              <a:gd name="connsiteX2" fmla="*/ 6780042 w 6780042"/>
              <a:gd name="connsiteY2" fmla="*/ 6858000 h 6858000"/>
              <a:gd name="connsiteX3" fmla="*/ 0 w 6780042"/>
              <a:gd name="connsiteY3" fmla="*/ 6858000 h 6858000"/>
              <a:gd name="connsiteX4" fmla="*/ 0 w 678004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0042" h="6858000">
                <a:moveTo>
                  <a:pt x="0" y="0"/>
                </a:moveTo>
                <a:lnTo>
                  <a:pt x="533987" y="6274190"/>
                </a:lnTo>
                <a:lnTo>
                  <a:pt x="6780042" y="6858000"/>
                </a:lnTo>
                <a:lnTo>
                  <a:pt x="0" y="6858000"/>
                </a:lnTo>
                <a:lnTo>
                  <a:pt x="0" y="0"/>
                </a:lnTo>
                <a:close/>
              </a:path>
            </a:pathLst>
          </a:custGeom>
          <a:solidFill>
            <a:srgbClr val="A53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 xmlns:a16="http://schemas.microsoft.com/office/drawing/2014/main" id="{B018D872-74EC-4C12-835A-5F484647A850}"/>
              </a:ext>
            </a:extLst>
          </p:cNvPr>
          <p:cNvSpPr/>
          <p:nvPr/>
        </p:nvSpPr>
        <p:spPr>
          <a:xfrm rot="10800000">
            <a:off x="14755" y="0"/>
            <a:ext cx="12187041" cy="6858000"/>
          </a:xfrm>
          <a:custGeom>
            <a:avLst/>
            <a:gdLst>
              <a:gd name="connsiteX0" fmla="*/ 0 w 12234202"/>
              <a:gd name="connsiteY0" fmla="*/ 1732958 h 6931831"/>
              <a:gd name="connsiteX1" fmla="*/ 10501244 w 12234202"/>
              <a:gd name="connsiteY1" fmla="*/ 1732958 h 6931831"/>
              <a:gd name="connsiteX2" fmla="*/ 10501244 w 12234202"/>
              <a:gd name="connsiteY2" fmla="*/ 6931831 h 6931831"/>
              <a:gd name="connsiteX3" fmla="*/ 0 w 12234202"/>
              <a:gd name="connsiteY3" fmla="*/ 6931831 h 6931831"/>
              <a:gd name="connsiteX4" fmla="*/ 0 w 12234202"/>
              <a:gd name="connsiteY4" fmla="*/ 1732958 h 6931831"/>
              <a:gd name="connsiteX0" fmla="*/ 10501244 w 12234202"/>
              <a:gd name="connsiteY0" fmla="*/ 1732958 h 6931831"/>
              <a:gd name="connsiteX1" fmla="*/ 12234202 w 12234202"/>
              <a:gd name="connsiteY1" fmla="*/ 0 h 6931831"/>
              <a:gd name="connsiteX2" fmla="*/ 12234202 w 12234202"/>
              <a:gd name="connsiteY2" fmla="*/ 5198873 h 6931831"/>
              <a:gd name="connsiteX3" fmla="*/ 10501244 w 12234202"/>
              <a:gd name="connsiteY3" fmla="*/ 6931831 h 6931831"/>
              <a:gd name="connsiteX4" fmla="*/ 10501244 w 12234202"/>
              <a:gd name="connsiteY4" fmla="*/ 1732958 h 6931831"/>
              <a:gd name="connsiteX0" fmla="*/ 0 w 12234202"/>
              <a:gd name="connsiteY0" fmla="*/ 1732958 h 6931831"/>
              <a:gd name="connsiteX1" fmla="*/ 1732958 w 12234202"/>
              <a:gd name="connsiteY1" fmla="*/ 0 h 6931831"/>
              <a:gd name="connsiteX2" fmla="*/ 12234202 w 12234202"/>
              <a:gd name="connsiteY2" fmla="*/ 0 h 6931831"/>
              <a:gd name="connsiteX3" fmla="*/ 10501244 w 12234202"/>
              <a:gd name="connsiteY3" fmla="*/ 1732958 h 6931831"/>
              <a:gd name="connsiteX4" fmla="*/ 0 w 12234202"/>
              <a:gd name="connsiteY4" fmla="*/ 1732958 h 6931831"/>
              <a:gd name="connsiteX0" fmla="*/ 0 w 12234202"/>
              <a:gd name="connsiteY0" fmla="*/ 1732958 h 6931831"/>
              <a:gd name="connsiteX1" fmla="*/ 1732958 w 12234202"/>
              <a:gd name="connsiteY1" fmla="*/ 0 h 6931831"/>
              <a:gd name="connsiteX2" fmla="*/ 12234202 w 12234202"/>
              <a:gd name="connsiteY2" fmla="*/ 0 h 6931831"/>
              <a:gd name="connsiteX3" fmla="*/ 12234202 w 12234202"/>
              <a:gd name="connsiteY3" fmla="*/ 5198873 h 6931831"/>
              <a:gd name="connsiteX4" fmla="*/ 10501244 w 12234202"/>
              <a:gd name="connsiteY4" fmla="*/ 6931831 h 6931831"/>
              <a:gd name="connsiteX5" fmla="*/ 0 w 12234202"/>
              <a:gd name="connsiteY5" fmla="*/ 6931831 h 6931831"/>
              <a:gd name="connsiteX6" fmla="*/ 0 w 12234202"/>
              <a:gd name="connsiteY6" fmla="*/ 1732958 h 6931831"/>
              <a:gd name="connsiteX7" fmla="*/ 0 w 12234202"/>
              <a:gd name="connsiteY7" fmla="*/ 1732958 h 6931831"/>
              <a:gd name="connsiteX8" fmla="*/ 10501244 w 12234202"/>
              <a:gd name="connsiteY8" fmla="*/ 1732958 h 6931831"/>
              <a:gd name="connsiteX9" fmla="*/ 12234202 w 12234202"/>
              <a:gd name="connsiteY9" fmla="*/ 0 h 6931831"/>
              <a:gd name="connsiteX10" fmla="*/ 10501244 w 12234202"/>
              <a:gd name="connsiteY10" fmla="*/ 1732958 h 6931831"/>
              <a:gd name="connsiteX11" fmla="*/ 10501244 w 12234202"/>
              <a:gd name="connsiteY11" fmla="*/ 6931831 h 6931831"/>
              <a:gd name="connsiteX0" fmla="*/ 0 w 12234202"/>
              <a:gd name="connsiteY0" fmla="*/ 1732958 h 6931831"/>
              <a:gd name="connsiteX1" fmla="*/ 10501244 w 12234202"/>
              <a:gd name="connsiteY1" fmla="*/ 1732958 h 6931831"/>
              <a:gd name="connsiteX2" fmla="*/ 10501244 w 12234202"/>
              <a:gd name="connsiteY2" fmla="*/ 6931831 h 6931831"/>
              <a:gd name="connsiteX3" fmla="*/ 0 w 12234202"/>
              <a:gd name="connsiteY3" fmla="*/ 6931831 h 6931831"/>
              <a:gd name="connsiteX4" fmla="*/ 0 w 12234202"/>
              <a:gd name="connsiteY4" fmla="*/ 1732958 h 6931831"/>
              <a:gd name="connsiteX0" fmla="*/ 10501244 w 12234202"/>
              <a:gd name="connsiteY0" fmla="*/ 1732958 h 6931831"/>
              <a:gd name="connsiteX1" fmla="*/ 12234202 w 12234202"/>
              <a:gd name="connsiteY1" fmla="*/ 0 h 6931831"/>
              <a:gd name="connsiteX2" fmla="*/ 12234202 w 12234202"/>
              <a:gd name="connsiteY2" fmla="*/ 5198873 h 6931831"/>
              <a:gd name="connsiteX3" fmla="*/ 10501244 w 12234202"/>
              <a:gd name="connsiteY3" fmla="*/ 6931831 h 6931831"/>
              <a:gd name="connsiteX4" fmla="*/ 10501244 w 12234202"/>
              <a:gd name="connsiteY4" fmla="*/ 1732958 h 6931831"/>
              <a:gd name="connsiteX0" fmla="*/ 0 w 12234202"/>
              <a:gd name="connsiteY0" fmla="*/ 1732958 h 6931831"/>
              <a:gd name="connsiteX1" fmla="*/ 1732958 w 12234202"/>
              <a:gd name="connsiteY1" fmla="*/ 0 h 6931831"/>
              <a:gd name="connsiteX2" fmla="*/ 12234202 w 12234202"/>
              <a:gd name="connsiteY2" fmla="*/ 0 h 6931831"/>
              <a:gd name="connsiteX3" fmla="*/ 10501244 w 12234202"/>
              <a:gd name="connsiteY3" fmla="*/ 1732958 h 6931831"/>
              <a:gd name="connsiteX4" fmla="*/ 0 w 12234202"/>
              <a:gd name="connsiteY4" fmla="*/ 1732958 h 6931831"/>
              <a:gd name="connsiteX0" fmla="*/ 0 w 12234202"/>
              <a:gd name="connsiteY0" fmla="*/ 1732958 h 6931831"/>
              <a:gd name="connsiteX1" fmla="*/ 1732958 w 12234202"/>
              <a:gd name="connsiteY1" fmla="*/ 0 h 6931831"/>
              <a:gd name="connsiteX2" fmla="*/ 12234202 w 12234202"/>
              <a:gd name="connsiteY2" fmla="*/ 0 h 6931831"/>
              <a:gd name="connsiteX3" fmla="*/ 12234202 w 12234202"/>
              <a:gd name="connsiteY3" fmla="*/ 5198873 h 6931831"/>
              <a:gd name="connsiteX4" fmla="*/ 10501244 w 12234202"/>
              <a:gd name="connsiteY4" fmla="*/ 6931831 h 6931831"/>
              <a:gd name="connsiteX5" fmla="*/ 0 w 12234202"/>
              <a:gd name="connsiteY5" fmla="*/ 6931831 h 6931831"/>
              <a:gd name="connsiteX6" fmla="*/ 0 w 12234202"/>
              <a:gd name="connsiteY6" fmla="*/ 1732958 h 6931831"/>
              <a:gd name="connsiteX7" fmla="*/ 10536702 w 12234202"/>
              <a:gd name="connsiteY7" fmla="*/ 4152601 h 6931831"/>
              <a:gd name="connsiteX8" fmla="*/ 10501244 w 12234202"/>
              <a:gd name="connsiteY8" fmla="*/ 1732958 h 6931831"/>
              <a:gd name="connsiteX9" fmla="*/ 12234202 w 12234202"/>
              <a:gd name="connsiteY9" fmla="*/ 0 h 6931831"/>
              <a:gd name="connsiteX10" fmla="*/ 10501244 w 12234202"/>
              <a:gd name="connsiteY10" fmla="*/ 1732958 h 6931831"/>
              <a:gd name="connsiteX11" fmla="*/ 10501244 w 12234202"/>
              <a:gd name="connsiteY11" fmla="*/ 6931831 h 6931831"/>
              <a:gd name="connsiteX0" fmla="*/ 0 w 12234202"/>
              <a:gd name="connsiteY0" fmla="*/ 1732958 h 6931831"/>
              <a:gd name="connsiteX1" fmla="*/ 10501244 w 12234202"/>
              <a:gd name="connsiteY1" fmla="*/ 1732958 h 6931831"/>
              <a:gd name="connsiteX2" fmla="*/ 10501244 w 12234202"/>
              <a:gd name="connsiteY2" fmla="*/ 6931831 h 6931831"/>
              <a:gd name="connsiteX3" fmla="*/ 0 w 12234202"/>
              <a:gd name="connsiteY3" fmla="*/ 6931831 h 6931831"/>
              <a:gd name="connsiteX4" fmla="*/ 0 w 12234202"/>
              <a:gd name="connsiteY4" fmla="*/ 1732958 h 6931831"/>
              <a:gd name="connsiteX0" fmla="*/ 10501244 w 12234202"/>
              <a:gd name="connsiteY0" fmla="*/ 1732958 h 6931831"/>
              <a:gd name="connsiteX1" fmla="*/ 12234202 w 12234202"/>
              <a:gd name="connsiteY1" fmla="*/ 0 h 6931831"/>
              <a:gd name="connsiteX2" fmla="*/ 12234202 w 12234202"/>
              <a:gd name="connsiteY2" fmla="*/ 5198873 h 6931831"/>
              <a:gd name="connsiteX3" fmla="*/ 10501244 w 12234202"/>
              <a:gd name="connsiteY3" fmla="*/ 6931831 h 6931831"/>
              <a:gd name="connsiteX4" fmla="*/ 10501244 w 12234202"/>
              <a:gd name="connsiteY4" fmla="*/ 1732958 h 6931831"/>
              <a:gd name="connsiteX0" fmla="*/ 0 w 12234202"/>
              <a:gd name="connsiteY0" fmla="*/ 1732958 h 6931831"/>
              <a:gd name="connsiteX1" fmla="*/ 1732958 w 12234202"/>
              <a:gd name="connsiteY1" fmla="*/ 0 h 6931831"/>
              <a:gd name="connsiteX2" fmla="*/ 12234202 w 12234202"/>
              <a:gd name="connsiteY2" fmla="*/ 0 h 6931831"/>
              <a:gd name="connsiteX3" fmla="*/ 10501244 w 12234202"/>
              <a:gd name="connsiteY3" fmla="*/ 1732958 h 6931831"/>
              <a:gd name="connsiteX4" fmla="*/ 0 w 12234202"/>
              <a:gd name="connsiteY4" fmla="*/ 1732958 h 6931831"/>
              <a:gd name="connsiteX0" fmla="*/ 6668087 w 12234202"/>
              <a:gd name="connsiteY0" fmla="*/ 2520749 h 6931831"/>
              <a:gd name="connsiteX1" fmla="*/ 1732958 w 12234202"/>
              <a:gd name="connsiteY1" fmla="*/ 0 h 6931831"/>
              <a:gd name="connsiteX2" fmla="*/ 12234202 w 12234202"/>
              <a:gd name="connsiteY2" fmla="*/ 0 h 6931831"/>
              <a:gd name="connsiteX3" fmla="*/ 12234202 w 12234202"/>
              <a:gd name="connsiteY3" fmla="*/ 5198873 h 6931831"/>
              <a:gd name="connsiteX4" fmla="*/ 10501244 w 12234202"/>
              <a:gd name="connsiteY4" fmla="*/ 6931831 h 6931831"/>
              <a:gd name="connsiteX5" fmla="*/ 0 w 12234202"/>
              <a:gd name="connsiteY5" fmla="*/ 6931831 h 6931831"/>
              <a:gd name="connsiteX6" fmla="*/ 6668087 w 12234202"/>
              <a:gd name="connsiteY6" fmla="*/ 2520749 h 6931831"/>
              <a:gd name="connsiteX7" fmla="*/ 10536702 w 12234202"/>
              <a:gd name="connsiteY7" fmla="*/ 4152601 h 6931831"/>
              <a:gd name="connsiteX8" fmla="*/ 10501244 w 12234202"/>
              <a:gd name="connsiteY8" fmla="*/ 1732958 h 6931831"/>
              <a:gd name="connsiteX9" fmla="*/ 12234202 w 12234202"/>
              <a:gd name="connsiteY9" fmla="*/ 0 h 6931831"/>
              <a:gd name="connsiteX10" fmla="*/ 10501244 w 12234202"/>
              <a:gd name="connsiteY10" fmla="*/ 1732958 h 6931831"/>
              <a:gd name="connsiteX11" fmla="*/ 10501244 w 12234202"/>
              <a:gd name="connsiteY11" fmla="*/ 6931831 h 6931831"/>
              <a:gd name="connsiteX0" fmla="*/ 0 w 12234202"/>
              <a:gd name="connsiteY0" fmla="*/ 1732958 h 6931831"/>
              <a:gd name="connsiteX1" fmla="*/ 10501244 w 12234202"/>
              <a:gd name="connsiteY1" fmla="*/ 1732958 h 6931831"/>
              <a:gd name="connsiteX2" fmla="*/ 10501244 w 12234202"/>
              <a:gd name="connsiteY2" fmla="*/ 6931831 h 6931831"/>
              <a:gd name="connsiteX3" fmla="*/ 0 w 12234202"/>
              <a:gd name="connsiteY3" fmla="*/ 6931831 h 6931831"/>
              <a:gd name="connsiteX4" fmla="*/ 0 w 12234202"/>
              <a:gd name="connsiteY4" fmla="*/ 1732958 h 6931831"/>
              <a:gd name="connsiteX0" fmla="*/ 10501244 w 12234202"/>
              <a:gd name="connsiteY0" fmla="*/ 1732958 h 6931831"/>
              <a:gd name="connsiteX1" fmla="*/ 12234202 w 12234202"/>
              <a:gd name="connsiteY1" fmla="*/ 0 h 6931831"/>
              <a:gd name="connsiteX2" fmla="*/ 12234202 w 12234202"/>
              <a:gd name="connsiteY2" fmla="*/ 5198873 h 6931831"/>
              <a:gd name="connsiteX3" fmla="*/ 10501244 w 12234202"/>
              <a:gd name="connsiteY3" fmla="*/ 6931831 h 6931831"/>
              <a:gd name="connsiteX4" fmla="*/ 10501244 w 12234202"/>
              <a:gd name="connsiteY4" fmla="*/ 1732958 h 6931831"/>
              <a:gd name="connsiteX0" fmla="*/ 0 w 12234202"/>
              <a:gd name="connsiteY0" fmla="*/ 1732958 h 6931831"/>
              <a:gd name="connsiteX1" fmla="*/ 1732958 w 12234202"/>
              <a:gd name="connsiteY1" fmla="*/ 0 h 6931831"/>
              <a:gd name="connsiteX2" fmla="*/ 12234202 w 12234202"/>
              <a:gd name="connsiteY2" fmla="*/ 0 h 6931831"/>
              <a:gd name="connsiteX3" fmla="*/ 10501244 w 12234202"/>
              <a:gd name="connsiteY3" fmla="*/ 1732958 h 6931831"/>
              <a:gd name="connsiteX4" fmla="*/ 0 w 12234202"/>
              <a:gd name="connsiteY4" fmla="*/ 1732958 h 6931831"/>
              <a:gd name="connsiteX0" fmla="*/ 6386734 w 12234202"/>
              <a:gd name="connsiteY0" fmla="*/ 4898189 h 6931831"/>
              <a:gd name="connsiteX1" fmla="*/ 1732958 w 12234202"/>
              <a:gd name="connsiteY1" fmla="*/ 0 h 6931831"/>
              <a:gd name="connsiteX2" fmla="*/ 12234202 w 12234202"/>
              <a:gd name="connsiteY2" fmla="*/ 0 h 6931831"/>
              <a:gd name="connsiteX3" fmla="*/ 12234202 w 12234202"/>
              <a:gd name="connsiteY3" fmla="*/ 5198873 h 6931831"/>
              <a:gd name="connsiteX4" fmla="*/ 10501244 w 12234202"/>
              <a:gd name="connsiteY4" fmla="*/ 6931831 h 6931831"/>
              <a:gd name="connsiteX5" fmla="*/ 0 w 12234202"/>
              <a:gd name="connsiteY5" fmla="*/ 6931831 h 6931831"/>
              <a:gd name="connsiteX6" fmla="*/ 6386734 w 12234202"/>
              <a:gd name="connsiteY6" fmla="*/ 4898189 h 6931831"/>
              <a:gd name="connsiteX7" fmla="*/ 10536702 w 12234202"/>
              <a:gd name="connsiteY7" fmla="*/ 4152601 h 6931831"/>
              <a:gd name="connsiteX8" fmla="*/ 10501244 w 12234202"/>
              <a:gd name="connsiteY8" fmla="*/ 1732958 h 6931831"/>
              <a:gd name="connsiteX9" fmla="*/ 12234202 w 12234202"/>
              <a:gd name="connsiteY9" fmla="*/ 0 h 6931831"/>
              <a:gd name="connsiteX10" fmla="*/ 10501244 w 12234202"/>
              <a:gd name="connsiteY10" fmla="*/ 1732958 h 6931831"/>
              <a:gd name="connsiteX11" fmla="*/ 10501244 w 12234202"/>
              <a:gd name="connsiteY11" fmla="*/ 6931831 h 6931831"/>
              <a:gd name="connsiteX0" fmla="*/ 0 w 12234202"/>
              <a:gd name="connsiteY0" fmla="*/ 1732958 h 6931831"/>
              <a:gd name="connsiteX1" fmla="*/ 10501244 w 12234202"/>
              <a:gd name="connsiteY1" fmla="*/ 1732958 h 6931831"/>
              <a:gd name="connsiteX2" fmla="*/ 10501244 w 12234202"/>
              <a:gd name="connsiteY2" fmla="*/ 6931831 h 6931831"/>
              <a:gd name="connsiteX3" fmla="*/ 0 w 12234202"/>
              <a:gd name="connsiteY3" fmla="*/ 6931831 h 6931831"/>
              <a:gd name="connsiteX4" fmla="*/ 0 w 12234202"/>
              <a:gd name="connsiteY4" fmla="*/ 1732958 h 6931831"/>
              <a:gd name="connsiteX0" fmla="*/ 10501244 w 12234202"/>
              <a:gd name="connsiteY0" fmla="*/ 1732958 h 6931831"/>
              <a:gd name="connsiteX1" fmla="*/ 12234202 w 12234202"/>
              <a:gd name="connsiteY1" fmla="*/ 0 h 6931831"/>
              <a:gd name="connsiteX2" fmla="*/ 12234202 w 12234202"/>
              <a:gd name="connsiteY2" fmla="*/ 5198873 h 6931831"/>
              <a:gd name="connsiteX3" fmla="*/ 10501244 w 12234202"/>
              <a:gd name="connsiteY3" fmla="*/ 6931831 h 6931831"/>
              <a:gd name="connsiteX4" fmla="*/ 10501244 w 12234202"/>
              <a:gd name="connsiteY4" fmla="*/ 1732958 h 6931831"/>
              <a:gd name="connsiteX0" fmla="*/ 0 w 12234202"/>
              <a:gd name="connsiteY0" fmla="*/ 1732958 h 6931831"/>
              <a:gd name="connsiteX1" fmla="*/ 1732958 w 12234202"/>
              <a:gd name="connsiteY1" fmla="*/ 0 h 6931831"/>
              <a:gd name="connsiteX2" fmla="*/ 12234202 w 12234202"/>
              <a:gd name="connsiteY2" fmla="*/ 0 h 6931831"/>
              <a:gd name="connsiteX3" fmla="*/ 10501244 w 12234202"/>
              <a:gd name="connsiteY3" fmla="*/ 1732958 h 6931831"/>
              <a:gd name="connsiteX4" fmla="*/ 0 w 12234202"/>
              <a:gd name="connsiteY4" fmla="*/ 1732958 h 6931831"/>
              <a:gd name="connsiteX0" fmla="*/ 6386734 w 12234202"/>
              <a:gd name="connsiteY0" fmla="*/ 4898189 h 6931831"/>
              <a:gd name="connsiteX1" fmla="*/ 1732958 w 12234202"/>
              <a:gd name="connsiteY1" fmla="*/ 0 h 6931831"/>
              <a:gd name="connsiteX2" fmla="*/ 12234202 w 12234202"/>
              <a:gd name="connsiteY2" fmla="*/ 0 h 6931831"/>
              <a:gd name="connsiteX3" fmla="*/ 12234202 w 12234202"/>
              <a:gd name="connsiteY3" fmla="*/ 5198873 h 6931831"/>
              <a:gd name="connsiteX4" fmla="*/ 10501244 w 12234202"/>
              <a:gd name="connsiteY4" fmla="*/ 6931831 h 6931831"/>
              <a:gd name="connsiteX5" fmla="*/ 0 w 12234202"/>
              <a:gd name="connsiteY5" fmla="*/ 6931831 h 6931831"/>
              <a:gd name="connsiteX6" fmla="*/ 6386734 w 12234202"/>
              <a:gd name="connsiteY6" fmla="*/ 4898189 h 6931831"/>
              <a:gd name="connsiteX7" fmla="*/ 11760591 w 12234202"/>
              <a:gd name="connsiteY7" fmla="*/ 5657844 h 6931831"/>
              <a:gd name="connsiteX8" fmla="*/ 10501244 w 12234202"/>
              <a:gd name="connsiteY8" fmla="*/ 1732958 h 6931831"/>
              <a:gd name="connsiteX9" fmla="*/ 12234202 w 12234202"/>
              <a:gd name="connsiteY9" fmla="*/ 0 h 6931831"/>
              <a:gd name="connsiteX10" fmla="*/ 10501244 w 12234202"/>
              <a:gd name="connsiteY10" fmla="*/ 1732958 h 6931831"/>
              <a:gd name="connsiteX11" fmla="*/ 10501244 w 12234202"/>
              <a:gd name="connsiteY11" fmla="*/ 6931831 h 6931831"/>
              <a:gd name="connsiteX0" fmla="*/ 0 w 12234202"/>
              <a:gd name="connsiteY0" fmla="*/ 1732958 h 6931831"/>
              <a:gd name="connsiteX1" fmla="*/ 10501244 w 12234202"/>
              <a:gd name="connsiteY1" fmla="*/ 1732958 h 6931831"/>
              <a:gd name="connsiteX2" fmla="*/ 10501244 w 12234202"/>
              <a:gd name="connsiteY2" fmla="*/ 6931831 h 6931831"/>
              <a:gd name="connsiteX3" fmla="*/ 0 w 12234202"/>
              <a:gd name="connsiteY3" fmla="*/ 6931831 h 6931831"/>
              <a:gd name="connsiteX4" fmla="*/ 0 w 12234202"/>
              <a:gd name="connsiteY4" fmla="*/ 1732958 h 6931831"/>
              <a:gd name="connsiteX0" fmla="*/ 10501244 w 12234202"/>
              <a:gd name="connsiteY0" fmla="*/ 1732958 h 6931831"/>
              <a:gd name="connsiteX1" fmla="*/ 12234202 w 12234202"/>
              <a:gd name="connsiteY1" fmla="*/ 0 h 6931831"/>
              <a:gd name="connsiteX2" fmla="*/ 12234202 w 12234202"/>
              <a:gd name="connsiteY2" fmla="*/ 5198873 h 6931831"/>
              <a:gd name="connsiteX3" fmla="*/ 10501244 w 12234202"/>
              <a:gd name="connsiteY3" fmla="*/ 6931831 h 6931831"/>
              <a:gd name="connsiteX4" fmla="*/ 10501244 w 12234202"/>
              <a:gd name="connsiteY4" fmla="*/ 1732958 h 6931831"/>
              <a:gd name="connsiteX0" fmla="*/ 0 w 12234202"/>
              <a:gd name="connsiteY0" fmla="*/ 1732958 h 6931831"/>
              <a:gd name="connsiteX1" fmla="*/ 1732958 w 12234202"/>
              <a:gd name="connsiteY1" fmla="*/ 0 h 6931831"/>
              <a:gd name="connsiteX2" fmla="*/ 12234202 w 12234202"/>
              <a:gd name="connsiteY2" fmla="*/ 0 h 6931831"/>
              <a:gd name="connsiteX3" fmla="*/ 10501244 w 12234202"/>
              <a:gd name="connsiteY3" fmla="*/ 1732958 h 6931831"/>
              <a:gd name="connsiteX4" fmla="*/ 0 w 12234202"/>
              <a:gd name="connsiteY4" fmla="*/ 1732958 h 6931831"/>
              <a:gd name="connsiteX0" fmla="*/ 6386734 w 12234202"/>
              <a:gd name="connsiteY0" fmla="*/ 4898189 h 6931831"/>
              <a:gd name="connsiteX1" fmla="*/ 1732958 w 12234202"/>
              <a:gd name="connsiteY1" fmla="*/ 0 h 6931831"/>
              <a:gd name="connsiteX2" fmla="*/ 12234202 w 12234202"/>
              <a:gd name="connsiteY2" fmla="*/ 0 h 6931831"/>
              <a:gd name="connsiteX3" fmla="*/ 12234202 w 12234202"/>
              <a:gd name="connsiteY3" fmla="*/ 5198873 h 6931831"/>
              <a:gd name="connsiteX4" fmla="*/ 10501244 w 12234202"/>
              <a:gd name="connsiteY4" fmla="*/ 6931831 h 6931831"/>
              <a:gd name="connsiteX5" fmla="*/ 9777046 w 12234202"/>
              <a:gd name="connsiteY5" fmla="*/ 3527450 h 6931831"/>
              <a:gd name="connsiteX6" fmla="*/ 6386734 w 12234202"/>
              <a:gd name="connsiteY6" fmla="*/ 4898189 h 6931831"/>
              <a:gd name="connsiteX7" fmla="*/ 11760591 w 12234202"/>
              <a:gd name="connsiteY7" fmla="*/ 5657844 h 6931831"/>
              <a:gd name="connsiteX8" fmla="*/ 10501244 w 12234202"/>
              <a:gd name="connsiteY8" fmla="*/ 1732958 h 6931831"/>
              <a:gd name="connsiteX9" fmla="*/ 12234202 w 12234202"/>
              <a:gd name="connsiteY9" fmla="*/ 0 h 6931831"/>
              <a:gd name="connsiteX10" fmla="*/ 10501244 w 12234202"/>
              <a:gd name="connsiteY10" fmla="*/ 1732958 h 6931831"/>
              <a:gd name="connsiteX11" fmla="*/ 10501244 w 12234202"/>
              <a:gd name="connsiteY11" fmla="*/ 6931831 h 6931831"/>
              <a:gd name="connsiteX0" fmla="*/ 0 w 12234202"/>
              <a:gd name="connsiteY0" fmla="*/ 1732958 h 7631799"/>
              <a:gd name="connsiteX1" fmla="*/ 10501244 w 12234202"/>
              <a:gd name="connsiteY1" fmla="*/ 1732958 h 7631799"/>
              <a:gd name="connsiteX2" fmla="*/ 10501244 w 12234202"/>
              <a:gd name="connsiteY2" fmla="*/ 6931831 h 7631799"/>
              <a:gd name="connsiteX3" fmla="*/ 0 w 12234202"/>
              <a:gd name="connsiteY3" fmla="*/ 6931831 h 7631799"/>
              <a:gd name="connsiteX4" fmla="*/ 0 w 12234202"/>
              <a:gd name="connsiteY4" fmla="*/ 1732958 h 7631799"/>
              <a:gd name="connsiteX0" fmla="*/ 10501244 w 12234202"/>
              <a:gd name="connsiteY0" fmla="*/ 1732958 h 7631799"/>
              <a:gd name="connsiteX1" fmla="*/ 12234202 w 12234202"/>
              <a:gd name="connsiteY1" fmla="*/ 0 h 7631799"/>
              <a:gd name="connsiteX2" fmla="*/ 12234202 w 12234202"/>
              <a:gd name="connsiteY2" fmla="*/ 5198873 h 7631799"/>
              <a:gd name="connsiteX3" fmla="*/ 10501244 w 12234202"/>
              <a:gd name="connsiteY3" fmla="*/ 6931831 h 7631799"/>
              <a:gd name="connsiteX4" fmla="*/ 10501244 w 12234202"/>
              <a:gd name="connsiteY4" fmla="*/ 1732958 h 7631799"/>
              <a:gd name="connsiteX0" fmla="*/ 0 w 12234202"/>
              <a:gd name="connsiteY0" fmla="*/ 1732958 h 7631799"/>
              <a:gd name="connsiteX1" fmla="*/ 1732958 w 12234202"/>
              <a:gd name="connsiteY1" fmla="*/ 0 h 7631799"/>
              <a:gd name="connsiteX2" fmla="*/ 12234202 w 12234202"/>
              <a:gd name="connsiteY2" fmla="*/ 0 h 7631799"/>
              <a:gd name="connsiteX3" fmla="*/ 10501244 w 12234202"/>
              <a:gd name="connsiteY3" fmla="*/ 1732958 h 7631799"/>
              <a:gd name="connsiteX4" fmla="*/ 0 w 12234202"/>
              <a:gd name="connsiteY4" fmla="*/ 1732958 h 7631799"/>
              <a:gd name="connsiteX0" fmla="*/ 6386734 w 12234202"/>
              <a:gd name="connsiteY0" fmla="*/ 4898189 h 7631799"/>
              <a:gd name="connsiteX1" fmla="*/ 1732958 w 12234202"/>
              <a:gd name="connsiteY1" fmla="*/ 0 h 7631799"/>
              <a:gd name="connsiteX2" fmla="*/ 12234202 w 12234202"/>
              <a:gd name="connsiteY2" fmla="*/ 0 h 7631799"/>
              <a:gd name="connsiteX3" fmla="*/ 12234202 w 12234202"/>
              <a:gd name="connsiteY3" fmla="*/ 5198873 h 7631799"/>
              <a:gd name="connsiteX4" fmla="*/ 10501244 w 12234202"/>
              <a:gd name="connsiteY4" fmla="*/ 6931831 h 7631799"/>
              <a:gd name="connsiteX5" fmla="*/ 9777046 w 12234202"/>
              <a:gd name="connsiteY5" fmla="*/ 3527450 h 7631799"/>
              <a:gd name="connsiteX6" fmla="*/ 6386734 w 12234202"/>
              <a:gd name="connsiteY6" fmla="*/ 4898189 h 7631799"/>
              <a:gd name="connsiteX7" fmla="*/ 11760591 w 12234202"/>
              <a:gd name="connsiteY7" fmla="*/ 5657844 h 7631799"/>
              <a:gd name="connsiteX8" fmla="*/ 10501244 w 12234202"/>
              <a:gd name="connsiteY8" fmla="*/ 1732958 h 7631799"/>
              <a:gd name="connsiteX9" fmla="*/ 12234202 w 12234202"/>
              <a:gd name="connsiteY9" fmla="*/ 0 h 7631799"/>
              <a:gd name="connsiteX10" fmla="*/ 10501244 w 12234202"/>
              <a:gd name="connsiteY10" fmla="*/ 1732958 h 7631799"/>
              <a:gd name="connsiteX11" fmla="*/ 3258296 w 12234202"/>
              <a:gd name="connsiteY11" fmla="*/ 7631799 h 7631799"/>
              <a:gd name="connsiteX0" fmla="*/ 2758323 w 14992525"/>
              <a:gd name="connsiteY0" fmla="*/ 1732958 h 7631799"/>
              <a:gd name="connsiteX1" fmla="*/ 13259567 w 14992525"/>
              <a:gd name="connsiteY1" fmla="*/ 1732958 h 7631799"/>
              <a:gd name="connsiteX2" fmla="*/ 13259567 w 14992525"/>
              <a:gd name="connsiteY2" fmla="*/ 6931831 h 7631799"/>
              <a:gd name="connsiteX3" fmla="*/ 2758323 w 14992525"/>
              <a:gd name="connsiteY3" fmla="*/ 6931831 h 7631799"/>
              <a:gd name="connsiteX4" fmla="*/ 2758323 w 14992525"/>
              <a:gd name="connsiteY4" fmla="*/ 1732958 h 7631799"/>
              <a:gd name="connsiteX0" fmla="*/ 13259567 w 14992525"/>
              <a:gd name="connsiteY0" fmla="*/ 1732958 h 7631799"/>
              <a:gd name="connsiteX1" fmla="*/ 14992525 w 14992525"/>
              <a:gd name="connsiteY1" fmla="*/ 0 h 7631799"/>
              <a:gd name="connsiteX2" fmla="*/ 14992525 w 14992525"/>
              <a:gd name="connsiteY2" fmla="*/ 5198873 h 7631799"/>
              <a:gd name="connsiteX3" fmla="*/ 13259567 w 14992525"/>
              <a:gd name="connsiteY3" fmla="*/ 6931831 h 7631799"/>
              <a:gd name="connsiteX4" fmla="*/ 13259567 w 14992525"/>
              <a:gd name="connsiteY4" fmla="*/ 1732958 h 7631799"/>
              <a:gd name="connsiteX0" fmla="*/ 0 w 14992525"/>
              <a:gd name="connsiteY0" fmla="*/ 2751094 h 7631799"/>
              <a:gd name="connsiteX1" fmla="*/ 4491281 w 14992525"/>
              <a:gd name="connsiteY1" fmla="*/ 0 h 7631799"/>
              <a:gd name="connsiteX2" fmla="*/ 14992525 w 14992525"/>
              <a:gd name="connsiteY2" fmla="*/ 0 h 7631799"/>
              <a:gd name="connsiteX3" fmla="*/ 13259567 w 14992525"/>
              <a:gd name="connsiteY3" fmla="*/ 1732958 h 7631799"/>
              <a:gd name="connsiteX4" fmla="*/ 0 w 14992525"/>
              <a:gd name="connsiteY4" fmla="*/ 2751094 h 7631799"/>
              <a:gd name="connsiteX0" fmla="*/ 9145057 w 14992525"/>
              <a:gd name="connsiteY0" fmla="*/ 4898189 h 7631799"/>
              <a:gd name="connsiteX1" fmla="*/ 4491281 w 14992525"/>
              <a:gd name="connsiteY1" fmla="*/ 0 h 7631799"/>
              <a:gd name="connsiteX2" fmla="*/ 14992525 w 14992525"/>
              <a:gd name="connsiteY2" fmla="*/ 0 h 7631799"/>
              <a:gd name="connsiteX3" fmla="*/ 14992525 w 14992525"/>
              <a:gd name="connsiteY3" fmla="*/ 5198873 h 7631799"/>
              <a:gd name="connsiteX4" fmla="*/ 13259567 w 14992525"/>
              <a:gd name="connsiteY4" fmla="*/ 6931831 h 7631799"/>
              <a:gd name="connsiteX5" fmla="*/ 12535369 w 14992525"/>
              <a:gd name="connsiteY5" fmla="*/ 3527450 h 7631799"/>
              <a:gd name="connsiteX6" fmla="*/ 9145057 w 14992525"/>
              <a:gd name="connsiteY6" fmla="*/ 4898189 h 7631799"/>
              <a:gd name="connsiteX7" fmla="*/ 14518914 w 14992525"/>
              <a:gd name="connsiteY7" fmla="*/ 5657844 h 7631799"/>
              <a:gd name="connsiteX8" fmla="*/ 13259567 w 14992525"/>
              <a:gd name="connsiteY8" fmla="*/ 1732958 h 7631799"/>
              <a:gd name="connsiteX9" fmla="*/ 14992525 w 14992525"/>
              <a:gd name="connsiteY9" fmla="*/ 0 h 7631799"/>
              <a:gd name="connsiteX10" fmla="*/ 13259567 w 14992525"/>
              <a:gd name="connsiteY10" fmla="*/ 1732958 h 7631799"/>
              <a:gd name="connsiteX11" fmla="*/ 6016619 w 14992525"/>
              <a:gd name="connsiteY11" fmla="*/ 7631799 h 7631799"/>
              <a:gd name="connsiteX0" fmla="*/ 2758323 w 14992525"/>
              <a:gd name="connsiteY0" fmla="*/ 1732958 h 7631799"/>
              <a:gd name="connsiteX1" fmla="*/ 13259567 w 14992525"/>
              <a:gd name="connsiteY1" fmla="*/ 1732958 h 7631799"/>
              <a:gd name="connsiteX2" fmla="*/ 13259567 w 14992525"/>
              <a:gd name="connsiteY2" fmla="*/ 6931831 h 7631799"/>
              <a:gd name="connsiteX3" fmla="*/ 12384312 w 14992525"/>
              <a:gd name="connsiteY3" fmla="*/ 3368353 h 7631799"/>
              <a:gd name="connsiteX4" fmla="*/ 2758323 w 14992525"/>
              <a:gd name="connsiteY4" fmla="*/ 1732958 h 7631799"/>
              <a:gd name="connsiteX0" fmla="*/ 13259567 w 14992525"/>
              <a:gd name="connsiteY0" fmla="*/ 1732958 h 7631799"/>
              <a:gd name="connsiteX1" fmla="*/ 14992525 w 14992525"/>
              <a:gd name="connsiteY1" fmla="*/ 0 h 7631799"/>
              <a:gd name="connsiteX2" fmla="*/ 14992525 w 14992525"/>
              <a:gd name="connsiteY2" fmla="*/ 5198873 h 7631799"/>
              <a:gd name="connsiteX3" fmla="*/ 13259567 w 14992525"/>
              <a:gd name="connsiteY3" fmla="*/ 6931831 h 7631799"/>
              <a:gd name="connsiteX4" fmla="*/ 13259567 w 14992525"/>
              <a:gd name="connsiteY4" fmla="*/ 1732958 h 7631799"/>
              <a:gd name="connsiteX0" fmla="*/ 0 w 14992525"/>
              <a:gd name="connsiteY0" fmla="*/ 2751094 h 7631799"/>
              <a:gd name="connsiteX1" fmla="*/ 4491281 w 14992525"/>
              <a:gd name="connsiteY1" fmla="*/ 0 h 7631799"/>
              <a:gd name="connsiteX2" fmla="*/ 14992525 w 14992525"/>
              <a:gd name="connsiteY2" fmla="*/ 0 h 7631799"/>
              <a:gd name="connsiteX3" fmla="*/ 13259567 w 14992525"/>
              <a:gd name="connsiteY3" fmla="*/ 1732958 h 7631799"/>
              <a:gd name="connsiteX4" fmla="*/ 0 w 14992525"/>
              <a:gd name="connsiteY4" fmla="*/ 2751094 h 7631799"/>
              <a:gd name="connsiteX0" fmla="*/ 9145057 w 14992525"/>
              <a:gd name="connsiteY0" fmla="*/ 4898189 h 7631799"/>
              <a:gd name="connsiteX1" fmla="*/ 4491281 w 14992525"/>
              <a:gd name="connsiteY1" fmla="*/ 0 h 7631799"/>
              <a:gd name="connsiteX2" fmla="*/ 14992525 w 14992525"/>
              <a:gd name="connsiteY2" fmla="*/ 0 h 7631799"/>
              <a:gd name="connsiteX3" fmla="*/ 14992525 w 14992525"/>
              <a:gd name="connsiteY3" fmla="*/ 5198873 h 7631799"/>
              <a:gd name="connsiteX4" fmla="*/ 13259567 w 14992525"/>
              <a:gd name="connsiteY4" fmla="*/ 6931831 h 7631799"/>
              <a:gd name="connsiteX5" fmla="*/ 12535369 w 14992525"/>
              <a:gd name="connsiteY5" fmla="*/ 3527450 h 7631799"/>
              <a:gd name="connsiteX6" fmla="*/ 9145057 w 14992525"/>
              <a:gd name="connsiteY6" fmla="*/ 4898189 h 7631799"/>
              <a:gd name="connsiteX7" fmla="*/ 14518914 w 14992525"/>
              <a:gd name="connsiteY7" fmla="*/ 5657844 h 7631799"/>
              <a:gd name="connsiteX8" fmla="*/ 13259567 w 14992525"/>
              <a:gd name="connsiteY8" fmla="*/ 1732958 h 7631799"/>
              <a:gd name="connsiteX9" fmla="*/ 14992525 w 14992525"/>
              <a:gd name="connsiteY9" fmla="*/ 0 h 7631799"/>
              <a:gd name="connsiteX10" fmla="*/ 13259567 w 14992525"/>
              <a:gd name="connsiteY10" fmla="*/ 1732958 h 7631799"/>
              <a:gd name="connsiteX11" fmla="*/ 6016619 w 14992525"/>
              <a:gd name="connsiteY11" fmla="*/ 7631799 h 7631799"/>
              <a:gd name="connsiteX0" fmla="*/ 2758323 w 14992525"/>
              <a:gd name="connsiteY0" fmla="*/ 1732958 h 7870427"/>
              <a:gd name="connsiteX1" fmla="*/ 13259567 w 14992525"/>
              <a:gd name="connsiteY1" fmla="*/ 1732958 h 7870427"/>
              <a:gd name="connsiteX2" fmla="*/ 13259567 w 14992525"/>
              <a:gd name="connsiteY2" fmla="*/ 6931831 h 7870427"/>
              <a:gd name="connsiteX3" fmla="*/ 12384312 w 14992525"/>
              <a:gd name="connsiteY3" fmla="*/ 3368353 h 7870427"/>
              <a:gd name="connsiteX4" fmla="*/ 2758323 w 14992525"/>
              <a:gd name="connsiteY4" fmla="*/ 1732958 h 7870427"/>
              <a:gd name="connsiteX0" fmla="*/ 13259567 w 14992525"/>
              <a:gd name="connsiteY0" fmla="*/ 1732958 h 7870427"/>
              <a:gd name="connsiteX1" fmla="*/ 14992525 w 14992525"/>
              <a:gd name="connsiteY1" fmla="*/ 0 h 7870427"/>
              <a:gd name="connsiteX2" fmla="*/ 14992525 w 14992525"/>
              <a:gd name="connsiteY2" fmla="*/ 5198873 h 7870427"/>
              <a:gd name="connsiteX3" fmla="*/ 13259567 w 14992525"/>
              <a:gd name="connsiteY3" fmla="*/ 6931831 h 7870427"/>
              <a:gd name="connsiteX4" fmla="*/ 13259567 w 14992525"/>
              <a:gd name="connsiteY4" fmla="*/ 1732958 h 7870427"/>
              <a:gd name="connsiteX0" fmla="*/ 0 w 14992525"/>
              <a:gd name="connsiteY0" fmla="*/ 2751094 h 7870427"/>
              <a:gd name="connsiteX1" fmla="*/ 4491281 w 14992525"/>
              <a:gd name="connsiteY1" fmla="*/ 0 h 7870427"/>
              <a:gd name="connsiteX2" fmla="*/ 14992525 w 14992525"/>
              <a:gd name="connsiteY2" fmla="*/ 0 h 7870427"/>
              <a:gd name="connsiteX3" fmla="*/ 13259567 w 14992525"/>
              <a:gd name="connsiteY3" fmla="*/ 1732958 h 7870427"/>
              <a:gd name="connsiteX4" fmla="*/ 0 w 14992525"/>
              <a:gd name="connsiteY4" fmla="*/ 2751094 h 7870427"/>
              <a:gd name="connsiteX0" fmla="*/ 9145057 w 14992525"/>
              <a:gd name="connsiteY0" fmla="*/ 4898189 h 7870427"/>
              <a:gd name="connsiteX1" fmla="*/ 4491281 w 14992525"/>
              <a:gd name="connsiteY1" fmla="*/ 0 h 7870427"/>
              <a:gd name="connsiteX2" fmla="*/ 14992525 w 14992525"/>
              <a:gd name="connsiteY2" fmla="*/ 0 h 7870427"/>
              <a:gd name="connsiteX3" fmla="*/ 14992525 w 14992525"/>
              <a:gd name="connsiteY3" fmla="*/ 5198873 h 7870427"/>
              <a:gd name="connsiteX4" fmla="*/ 14985865 w 14992525"/>
              <a:gd name="connsiteY4" fmla="*/ 7870427 h 7870427"/>
              <a:gd name="connsiteX5" fmla="*/ 12535369 w 14992525"/>
              <a:gd name="connsiteY5" fmla="*/ 3527450 h 7870427"/>
              <a:gd name="connsiteX6" fmla="*/ 9145057 w 14992525"/>
              <a:gd name="connsiteY6" fmla="*/ 4898189 h 7870427"/>
              <a:gd name="connsiteX7" fmla="*/ 14518914 w 14992525"/>
              <a:gd name="connsiteY7" fmla="*/ 5657844 h 7870427"/>
              <a:gd name="connsiteX8" fmla="*/ 13259567 w 14992525"/>
              <a:gd name="connsiteY8" fmla="*/ 1732958 h 7870427"/>
              <a:gd name="connsiteX9" fmla="*/ 14992525 w 14992525"/>
              <a:gd name="connsiteY9" fmla="*/ 0 h 7870427"/>
              <a:gd name="connsiteX10" fmla="*/ 13259567 w 14992525"/>
              <a:gd name="connsiteY10" fmla="*/ 1732958 h 7870427"/>
              <a:gd name="connsiteX11" fmla="*/ 6016619 w 14992525"/>
              <a:gd name="connsiteY11" fmla="*/ 7631799 h 7870427"/>
              <a:gd name="connsiteX0" fmla="*/ 2758323 w 15023393"/>
              <a:gd name="connsiteY0" fmla="*/ 1732958 h 7981785"/>
              <a:gd name="connsiteX1" fmla="*/ 13259567 w 15023393"/>
              <a:gd name="connsiteY1" fmla="*/ 1732958 h 7981785"/>
              <a:gd name="connsiteX2" fmla="*/ 13259567 w 15023393"/>
              <a:gd name="connsiteY2" fmla="*/ 6931831 h 7981785"/>
              <a:gd name="connsiteX3" fmla="*/ 12384312 w 15023393"/>
              <a:gd name="connsiteY3" fmla="*/ 3368353 h 7981785"/>
              <a:gd name="connsiteX4" fmla="*/ 2758323 w 15023393"/>
              <a:gd name="connsiteY4" fmla="*/ 1732958 h 7981785"/>
              <a:gd name="connsiteX0" fmla="*/ 13259567 w 15023393"/>
              <a:gd name="connsiteY0" fmla="*/ 1732958 h 7981785"/>
              <a:gd name="connsiteX1" fmla="*/ 14992525 w 15023393"/>
              <a:gd name="connsiteY1" fmla="*/ 0 h 7981785"/>
              <a:gd name="connsiteX2" fmla="*/ 14992525 w 15023393"/>
              <a:gd name="connsiteY2" fmla="*/ 5198873 h 7981785"/>
              <a:gd name="connsiteX3" fmla="*/ 15023393 w 15023393"/>
              <a:gd name="connsiteY3" fmla="*/ 7981785 h 7981785"/>
              <a:gd name="connsiteX4" fmla="*/ 13259567 w 15023393"/>
              <a:gd name="connsiteY4" fmla="*/ 1732958 h 7981785"/>
              <a:gd name="connsiteX0" fmla="*/ 0 w 15023393"/>
              <a:gd name="connsiteY0" fmla="*/ 2751094 h 7981785"/>
              <a:gd name="connsiteX1" fmla="*/ 4491281 w 15023393"/>
              <a:gd name="connsiteY1" fmla="*/ 0 h 7981785"/>
              <a:gd name="connsiteX2" fmla="*/ 14992525 w 15023393"/>
              <a:gd name="connsiteY2" fmla="*/ 0 h 7981785"/>
              <a:gd name="connsiteX3" fmla="*/ 13259567 w 15023393"/>
              <a:gd name="connsiteY3" fmla="*/ 1732958 h 7981785"/>
              <a:gd name="connsiteX4" fmla="*/ 0 w 15023393"/>
              <a:gd name="connsiteY4" fmla="*/ 2751094 h 7981785"/>
              <a:gd name="connsiteX0" fmla="*/ 9145057 w 15023393"/>
              <a:gd name="connsiteY0" fmla="*/ 4898189 h 7981785"/>
              <a:gd name="connsiteX1" fmla="*/ 4491281 w 15023393"/>
              <a:gd name="connsiteY1" fmla="*/ 0 h 7981785"/>
              <a:gd name="connsiteX2" fmla="*/ 14992525 w 15023393"/>
              <a:gd name="connsiteY2" fmla="*/ 0 h 7981785"/>
              <a:gd name="connsiteX3" fmla="*/ 14992525 w 15023393"/>
              <a:gd name="connsiteY3" fmla="*/ 5198873 h 7981785"/>
              <a:gd name="connsiteX4" fmla="*/ 14985865 w 15023393"/>
              <a:gd name="connsiteY4" fmla="*/ 7870427 h 7981785"/>
              <a:gd name="connsiteX5" fmla="*/ 12535369 w 15023393"/>
              <a:gd name="connsiteY5" fmla="*/ 3527450 h 7981785"/>
              <a:gd name="connsiteX6" fmla="*/ 9145057 w 15023393"/>
              <a:gd name="connsiteY6" fmla="*/ 4898189 h 7981785"/>
              <a:gd name="connsiteX7" fmla="*/ 14518914 w 15023393"/>
              <a:gd name="connsiteY7" fmla="*/ 5657844 h 7981785"/>
              <a:gd name="connsiteX8" fmla="*/ 13259567 w 15023393"/>
              <a:gd name="connsiteY8" fmla="*/ 1732958 h 7981785"/>
              <a:gd name="connsiteX9" fmla="*/ 14992525 w 15023393"/>
              <a:gd name="connsiteY9" fmla="*/ 0 h 7981785"/>
              <a:gd name="connsiteX10" fmla="*/ 13259567 w 15023393"/>
              <a:gd name="connsiteY10" fmla="*/ 1732958 h 7981785"/>
              <a:gd name="connsiteX11" fmla="*/ 6016619 w 15023393"/>
              <a:gd name="connsiteY11" fmla="*/ 7631799 h 7981785"/>
              <a:gd name="connsiteX0" fmla="*/ 2758323 w 15023393"/>
              <a:gd name="connsiteY0" fmla="*/ 1732958 h 7981785"/>
              <a:gd name="connsiteX1" fmla="*/ 13259567 w 15023393"/>
              <a:gd name="connsiteY1" fmla="*/ 1732958 h 7981785"/>
              <a:gd name="connsiteX2" fmla="*/ 14310357 w 15023393"/>
              <a:gd name="connsiteY2" fmla="*/ 7886334 h 7981785"/>
              <a:gd name="connsiteX3" fmla="*/ 12384312 w 15023393"/>
              <a:gd name="connsiteY3" fmla="*/ 3368353 h 7981785"/>
              <a:gd name="connsiteX4" fmla="*/ 2758323 w 15023393"/>
              <a:gd name="connsiteY4" fmla="*/ 1732958 h 7981785"/>
              <a:gd name="connsiteX0" fmla="*/ 13259567 w 15023393"/>
              <a:gd name="connsiteY0" fmla="*/ 1732958 h 7981785"/>
              <a:gd name="connsiteX1" fmla="*/ 14992525 w 15023393"/>
              <a:gd name="connsiteY1" fmla="*/ 0 h 7981785"/>
              <a:gd name="connsiteX2" fmla="*/ 14992525 w 15023393"/>
              <a:gd name="connsiteY2" fmla="*/ 5198873 h 7981785"/>
              <a:gd name="connsiteX3" fmla="*/ 15023393 w 15023393"/>
              <a:gd name="connsiteY3" fmla="*/ 7981785 h 7981785"/>
              <a:gd name="connsiteX4" fmla="*/ 13259567 w 15023393"/>
              <a:gd name="connsiteY4" fmla="*/ 1732958 h 7981785"/>
              <a:gd name="connsiteX0" fmla="*/ 0 w 15023393"/>
              <a:gd name="connsiteY0" fmla="*/ 2751094 h 7981785"/>
              <a:gd name="connsiteX1" fmla="*/ 4491281 w 15023393"/>
              <a:gd name="connsiteY1" fmla="*/ 0 h 7981785"/>
              <a:gd name="connsiteX2" fmla="*/ 14992525 w 15023393"/>
              <a:gd name="connsiteY2" fmla="*/ 0 h 7981785"/>
              <a:gd name="connsiteX3" fmla="*/ 13259567 w 15023393"/>
              <a:gd name="connsiteY3" fmla="*/ 1732958 h 7981785"/>
              <a:gd name="connsiteX4" fmla="*/ 0 w 15023393"/>
              <a:gd name="connsiteY4" fmla="*/ 2751094 h 7981785"/>
              <a:gd name="connsiteX0" fmla="*/ 9145057 w 15023393"/>
              <a:gd name="connsiteY0" fmla="*/ 4898189 h 7981785"/>
              <a:gd name="connsiteX1" fmla="*/ 4491281 w 15023393"/>
              <a:gd name="connsiteY1" fmla="*/ 0 h 7981785"/>
              <a:gd name="connsiteX2" fmla="*/ 14992525 w 15023393"/>
              <a:gd name="connsiteY2" fmla="*/ 0 h 7981785"/>
              <a:gd name="connsiteX3" fmla="*/ 14992525 w 15023393"/>
              <a:gd name="connsiteY3" fmla="*/ 5198873 h 7981785"/>
              <a:gd name="connsiteX4" fmla="*/ 14985865 w 15023393"/>
              <a:gd name="connsiteY4" fmla="*/ 7870427 h 7981785"/>
              <a:gd name="connsiteX5" fmla="*/ 12535369 w 15023393"/>
              <a:gd name="connsiteY5" fmla="*/ 3527450 h 7981785"/>
              <a:gd name="connsiteX6" fmla="*/ 9145057 w 15023393"/>
              <a:gd name="connsiteY6" fmla="*/ 4898189 h 7981785"/>
              <a:gd name="connsiteX7" fmla="*/ 14518914 w 15023393"/>
              <a:gd name="connsiteY7" fmla="*/ 5657844 h 7981785"/>
              <a:gd name="connsiteX8" fmla="*/ 13259567 w 15023393"/>
              <a:gd name="connsiteY8" fmla="*/ 1732958 h 7981785"/>
              <a:gd name="connsiteX9" fmla="*/ 14992525 w 15023393"/>
              <a:gd name="connsiteY9" fmla="*/ 0 h 7981785"/>
              <a:gd name="connsiteX10" fmla="*/ 13259567 w 15023393"/>
              <a:gd name="connsiteY10" fmla="*/ 1732958 h 7981785"/>
              <a:gd name="connsiteX11" fmla="*/ 6016619 w 15023393"/>
              <a:gd name="connsiteY11" fmla="*/ 7631799 h 7981785"/>
              <a:gd name="connsiteX0" fmla="*/ 2758323 w 15023393"/>
              <a:gd name="connsiteY0" fmla="*/ 1732958 h 7981785"/>
              <a:gd name="connsiteX1" fmla="*/ 13259567 w 15023393"/>
              <a:gd name="connsiteY1" fmla="*/ 1732958 h 7981785"/>
              <a:gd name="connsiteX2" fmla="*/ 14310357 w 15023393"/>
              <a:gd name="connsiteY2" fmla="*/ 7886334 h 7981785"/>
              <a:gd name="connsiteX3" fmla="*/ 12384312 w 15023393"/>
              <a:gd name="connsiteY3" fmla="*/ 3368353 h 7981785"/>
              <a:gd name="connsiteX4" fmla="*/ 2758323 w 15023393"/>
              <a:gd name="connsiteY4" fmla="*/ 1732958 h 7981785"/>
              <a:gd name="connsiteX0" fmla="*/ 13259567 w 15023393"/>
              <a:gd name="connsiteY0" fmla="*/ 1732958 h 7981785"/>
              <a:gd name="connsiteX1" fmla="*/ 14992525 w 15023393"/>
              <a:gd name="connsiteY1" fmla="*/ 0 h 7981785"/>
              <a:gd name="connsiteX2" fmla="*/ 14992525 w 15023393"/>
              <a:gd name="connsiteY2" fmla="*/ 5198873 h 7981785"/>
              <a:gd name="connsiteX3" fmla="*/ 15023393 w 15023393"/>
              <a:gd name="connsiteY3" fmla="*/ 7981785 h 7981785"/>
              <a:gd name="connsiteX4" fmla="*/ 13259567 w 15023393"/>
              <a:gd name="connsiteY4" fmla="*/ 1732958 h 7981785"/>
              <a:gd name="connsiteX0" fmla="*/ 0 w 15023393"/>
              <a:gd name="connsiteY0" fmla="*/ 2751094 h 7981785"/>
              <a:gd name="connsiteX1" fmla="*/ 4491281 w 15023393"/>
              <a:gd name="connsiteY1" fmla="*/ 0 h 7981785"/>
              <a:gd name="connsiteX2" fmla="*/ 14992525 w 15023393"/>
              <a:gd name="connsiteY2" fmla="*/ 0 h 7981785"/>
              <a:gd name="connsiteX3" fmla="*/ 13259567 w 15023393"/>
              <a:gd name="connsiteY3" fmla="*/ 1732958 h 7981785"/>
              <a:gd name="connsiteX4" fmla="*/ 0 w 15023393"/>
              <a:gd name="connsiteY4" fmla="*/ 2751094 h 7981785"/>
              <a:gd name="connsiteX0" fmla="*/ 8994943 w 15023393"/>
              <a:gd name="connsiteY0" fmla="*/ 682467 h 7981785"/>
              <a:gd name="connsiteX1" fmla="*/ 4491281 w 15023393"/>
              <a:gd name="connsiteY1" fmla="*/ 0 h 7981785"/>
              <a:gd name="connsiteX2" fmla="*/ 14992525 w 15023393"/>
              <a:gd name="connsiteY2" fmla="*/ 0 h 7981785"/>
              <a:gd name="connsiteX3" fmla="*/ 14992525 w 15023393"/>
              <a:gd name="connsiteY3" fmla="*/ 5198873 h 7981785"/>
              <a:gd name="connsiteX4" fmla="*/ 14985865 w 15023393"/>
              <a:gd name="connsiteY4" fmla="*/ 7870427 h 7981785"/>
              <a:gd name="connsiteX5" fmla="*/ 12535369 w 15023393"/>
              <a:gd name="connsiteY5" fmla="*/ 3527450 h 7981785"/>
              <a:gd name="connsiteX6" fmla="*/ 8994943 w 15023393"/>
              <a:gd name="connsiteY6" fmla="*/ 682467 h 7981785"/>
              <a:gd name="connsiteX7" fmla="*/ 14518914 w 15023393"/>
              <a:gd name="connsiteY7" fmla="*/ 5657844 h 7981785"/>
              <a:gd name="connsiteX8" fmla="*/ 13259567 w 15023393"/>
              <a:gd name="connsiteY8" fmla="*/ 1732958 h 7981785"/>
              <a:gd name="connsiteX9" fmla="*/ 14992525 w 15023393"/>
              <a:gd name="connsiteY9" fmla="*/ 0 h 7981785"/>
              <a:gd name="connsiteX10" fmla="*/ 13259567 w 15023393"/>
              <a:gd name="connsiteY10" fmla="*/ 1732958 h 7981785"/>
              <a:gd name="connsiteX11" fmla="*/ 6016619 w 15023393"/>
              <a:gd name="connsiteY11" fmla="*/ 7631799 h 7981785"/>
              <a:gd name="connsiteX0" fmla="*/ 2758323 w 15023393"/>
              <a:gd name="connsiteY0" fmla="*/ 1732958 h 7981785"/>
              <a:gd name="connsiteX1" fmla="*/ 13259567 w 15023393"/>
              <a:gd name="connsiteY1" fmla="*/ 1732958 h 7981785"/>
              <a:gd name="connsiteX2" fmla="*/ 14310357 w 15023393"/>
              <a:gd name="connsiteY2" fmla="*/ 7886334 h 7981785"/>
              <a:gd name="connsiteX3" fmla="*/ 12384312 w 15023393"/>
              <a:gd name="connsiteY3" fmla="*/ 3368353 h 7981785"/>
              <a:gd name="connsiteX4" fmla="*/ 2758323 w 15023393"/>
              <a:gd name="connsiteY4" fmla="*/ 1732958 h 7981785"/>
              <a:gd name="connsiteX0" fmla="*/ 13259567 w 15023393"/>
              <a:gd name="connsiteY0" fmla="*/ 1732958 h 7981785"/>
              <a:gd name="connsiteX1" fmla="*/ 14992525 w 15023393"/>
              <a:gd name="connsiteY1" fmla="*/ 0 h 7981785"/>
              <a:gd name="connsiteX2" fmla="*/ 14992525 w 15023393"/>
              <a:gd name="connsiteY2" fmla="*/ 5198873 h 7981785"/>
              <a:gd name="connsiteX3" fmla="*/ 15023393 w 15023393"/>
              <a:gd name="connsiteY3" fmla="*/ 7981785 h 7981785"/>
              <a:gd name="connsiteX4" fmla="*/ 13259567 w 15023393"/>
              <a:gd name="connsiteY4" fmla="*/ 1732958 h 7981785"/>
              <a:gd name="connsiteX0" fmla="*/ 0 w 15023393"/>
              <a:gd name="connsiteY0" fmla="*/ 2751094 h 7981785"/>
              <a:gd name="connsiteX1" fmla="*/ 4491281 w 15023393"/>
              <a:gd name="connsiteY1" fmla="*/ 0 h 7981785"/>
              <a:gd name="connsiteX2" fmla="*/ 14992525 w 15023393"/>
              <a:gd name="connsiteY2" fmla="*/ 0 h 7981785"/>
              <a:gd name="connsiteX3" fmla="*/ 13259567 w 15023393"/>
              <a:gd name="connsiteY3" fmla="*/ 1732958 h 7981785"/>
              <a:gd name="connsiteX4" fmla="*/ 0 w 15023393"/>
              <a:gd name="connsiteY4" fmla="*/ 2751094 h 7981785"/>
              <a:gd name="connsiteX0" fmla="*/ 8994943 w 15023393"/>
              <a:gd name="connsiteY0" fmla="*/ 682467 h 7981785"/>
              <a:gd name="connsiteX1" fmla="*/ 4491281 w 15023393"/>
              <a:gd name="connsiteY1" fmla="*/ 0 h 7981785"/>
              <a:gd name="connsiteX2" fmla="*/ 14992525 w 15023393"/>
              <a:gd name="connsiteY2" fmla="*/ 0 h 7981785"/>
              <a:gd name="connsiteX3" fmla="*/ 14992525 w 15023393"/>
              <a:gd name="connsiteY3" fmla="*/ 5198873 h 7981785"/>
              <a:gd name="connsiteX4" fmla="*/ 14985865 w 15023393"/>
              <a:gd name="connsiteY4" fmla="*/ 7870427 h 7981785"/>
              <a:gd name="connsiteX5" fmla="*/ 12535369 w 15023393"/>
              <a:gd name="connsiteY5" fmla="*/ 3527450 h 7981785"/>
              <a:gd name="connsiteX6" fmla="*/ 8994943 w 15023393"/>
              <a:gd name="connsiteY6" fmla="*/ 682467 h 7981785"/>
              <a:gd name="connsiteX7" fmla="*/ 14518914 w 15023393"/>
              <a:gd name="connsiteY7" fmla="*/ 5657844 h 7981785"/>
              <a:gd name="connsiteX8" fmla="*/ 13259567 w 15023393"/>
              <a:gd name="connsiteY8" fmla="*/ 1732958 h 7981785"/>
              <a:gd name="connsiteX9" fmla="*/ 14992525 w 15023393"/>
              <a:gd name="connsiteY9" fmla="*/ 0 h 7981785"/>
              <a:gd name="connsiteX10" fmla="*/ 13259567 w 15023393"/>
              <a:gd name="connsiteY10" fmla="*/ 1732958 h 7981785"/>
              <a:gd name="connsiteX11" fmla="*/ 2245033 w 15023393"/>
              <a:gd name="connsiteY11" fmla="*/ 1841147 h 7981785"/>
              <a:gd name="connsiteX0" fmla="*/ 2758323 w 15023393"/>
              <a:gd name="connsiteY0" fmla="*/ 1732958 h 7981785"/>
              <a:gd name="connsiteX1" fmla="*/ 13259567 w 15023393"/>
              <a:gd name="connsiteY1" fmla="*/ 1732958 h 7981785"/>
              <a:gd name="connsiteX2" fmla="*/ 14723167 w 15023393"/>
              <a:gd name="connsiteY2" fmla="*/ 7822700 h 7981785"/>
              <a:gd name="connsiteX3" fmla="*/ 12384312 w 15023393"/>
              <a:gd name="connsiteY3" fmla="*/ 3368353 h 7981785"/>
              <a:gd name="connsiteX4" fmla="*/ 2758323 w 15023393"/>
              <a:gd name="connsiteY4" fmla="*/ 1732958 h 7981785"/>
              <a:gd name="connsiteX0" fmla="*/ 13259567 w 15023393"/>
              <a:gd name="connsiteY0" fmla="*/ 1732958 h 7981785"/>
              <a:gd name="connsiteX1" fmla="*/ 14992525 w 15023393"/>
              <a:gd name="connsiteY1" fmla="*/ 0 h 7981785"/>
              <a:gd name="connsiteX2" fmla="*/ 14992525 w 15023393"/>
              <a:gd name="connsiteY2" fmla="*/ 5198873 h 7981785"/>
              <a:gd name="connsiteX3" fmla="*/ 15023393 w 15023393"/>
              <a:gd name="connsiteY3" fmla="*/ 7981785 h 7981785"/>
              <a:gd name="connsiteX4" fmla="*/ 13259567 w 15023393"/>
              <a:gd name="connsiteY4" fmla="*/ 1732958 h 7981785"/>
              <a:gd name="connsiteX0" fmla="*/ 0 w 15023393"/>
              <a:gd name="connsiteY0" fmla="*/ 2751094 h 7981785"/>
              <a:gd name="connsiteX1" fmla="*/ 4491281 w 15023393"/>
              <a:gd name="connsiteY1" fmla="*/ 0 h 7981785"/>
              <a:gd name="connsiteX2" fmla="*/ 14992525 w 15023393"/>
              <a:gd name="connsiteY2" fmla="*/ 0 h 7981785"/>
              <a:gd name="connsiteX3" fmla="*/ 13259567 w 15023393"/>
              <a:gd name="connsiteY3" fmla="*/ 1732958 h 7981785"/>
              <a:gd name="connsiteX4" fmla="*/ 0 w 15023393"/>
              <a:gd name="connsiteY4" fmla="*/ 2751094 h 7981785"/>
              <a:gd name="connsiteX0" fmla="*/ 8994943 w 15023393"/>
              <a:gd name="connsiteY0" fmla="*/ 682467 h 7981785"/>
              <a:gd name="connsiteX1" fmla="*/ 4491281 w 15023393"/>
              <a:gd name="connsiteY1" fmla="*/ 0 h 7981785"/>
              <a:gd name="connsiteX2" fmla="*/ 14992525 w 15023393"/>
              <a:gd name="connsiteY2" fmla="*/ 0 h 7981785"/>
              <a:gd name="connsiteX3" fmla="*/ 14992525 w 15023393"/>
              <a:gd name="connsiteY3" fmla="*/ 5198873 h 7981785"/>
              <a:gd name="connsiteX4" fmla="*/ 14985865 w 15023393"/>
              <a:gd name="connsiteY4" fmla="*/ 7870427 h 7981785"/>
              <a:gd name="connsiteX5" fmla="*/ 12535369 w 15023393"/>
              <a:gd name="connsiteY5" fmla="*/ 3527450 h 7981785"/>
              <a:gd name="connsiteX6" fmla="*/ 8994943 w 15023393"/>
              <a:gd name="connsiteY6" fmla="*/ 682467 h 7981785"/>
              <a:gd name="connsiteX7" fmla="*/ 14518914 w 15023393"/>
              <a:gd name="connsiteY7" fmla="*/ 5657844 h 7981785"/>
              <a:gd name="connsiteX8" fmla="*/ 13259567 w 15023393"/>
              <a:gd name="connsiteY8" fmla="*/ 1732958 h 7981785"/>
              <a:gd name="connsiteX9" fmla="*/ 14992525 w 15023393"/>
              <a:gd name="connsiteY9" fmla="*/ 0 h 7981785"/>
              <a:gd name="connsiteX10" fmla="*/ 13259567 w 15023393"/>
              <a:gd name="connsiteY10" fmla="*/ 1732958 h 7981785"/>
              <a:gd name="connsiteX11" fmla="*/ 2245033 w 15023393"/>
              <a:gd name="connsiteY11" fmla="*/ 1841147 h 7981785"/>
              <a:gd name="connsiteX0" fmla="*/ 4027348 w 16292418"/>
              <a:gd name="connsiteY0" fmla="*/ 1732958 h 7981785"/>
              <a:gd name="connsiteX1" fmla="*/ 14528592 w 16292418"/>
              <a:gd name="connsiteY1" fmla="*/ 1732958 h 7981785"/>
              <a:gd name="connsiteX2" fmla="*/ 15992192 w 16292418"/>
              <a:gd name="connsiteY2" fmla="*/ 7822700 h 7981785"/>
              <a:gd name="connsiteX3" fmla="*/ 13653337 w 16292418"/>
              <a:gd name="connsiteY3" fmla="*/ 3368353 h 7981785"/>
              <a:gd name="connsiteX4" fmla="*/ 4027348 w 16292418"/>
              <a:gd name="connsiteY4" fmla="*/ 1732958 h 7981785"/>
              <a:gd name="connsiteX0" fmla="*/ 14528592 w 16292418"/>
              <a:gd name="connsiteY0" fmla="*/ 1732958 h 7981785"/>
              <a:gd name="connsiteX1" fmla="*/ 16261550 w 16292418"/>
              <a:gd name="connsiteY1" fmla="*/ 0 h 7981785"/>
              <a:gd name="connsiteX2" fmla="*/ 16261550 w 16292418"/>
              <a:gd name="connsiteY2" fmla="*/ 5198873 h 7981785"/>
              <a:gd name="connsiteX3" fmla="*/ 16292418 w 16292418"/>
              <a:gd name="connsiteY3" fmla="*/ 7981785 h 7981785"/>
              <a:gd name="connsiteX4" fmla="*/ 14528592 w 16292418"/>
              <a:gd name="connsiteY4" fmla="*/ 1732958 h 7981785"/>
              <a:gd name="connsiteX0" fmla="*/ 1269025 w 16292418"/>
              <a:gd name="connsiteY0" fmla="*/ 2751094 h 7981785"/>
              <a:gd name="connsiteX1" fmla="*/ 5760306 w 16292418"/>
              <a:gd name="connsiteY1" fmla="*/ 0 h 7981785"/>
              <a:gd name="connsiteX2" fmla="*/ 16261550 w 16292418"/>
              <a:gd name="connsiteY2" fmla="*/ 0 h 7981785"/>
              <a:gd name="connsiteX3" fmla="*/ 14528592 w 16292418"/>
              <a:gd name="connsiteY3" fmla="*/ 1732958 h 7981785"/>
              <a:gd name="connsiteX4" fmla="*/ 1269025 w 16292418"/>
              <a:gd name="connsiteY4" fmla="*/ 2751094 h 7981785"/>
              <a:gd name="connsiteX0" fmla="*/ 0 w 16292418"/>
              <a:gd name="connsiteY0" fmla="*/ 14314 h 7981785"/>
              <a:gd name="connsiteX1" fmla="*/ 5760306 w 16292418"/>
              <a:gd name="connsiteY1" fmla="*/ 0 h 7981785"/>
              <a:gd name="connsiteX2" fmla="*/ 16261550 w 16292418"/>
              <a:gd name="connsiteY2" fmla="*/ 0 h 7981785"/>
              <a:gd name="connsiteX3" fmla="*/ 16261550 w 16292418"/>
              <a:gd name="connsiteY3" fmla="*/ 5198873 h 7981785"/>
              <a:gd name="connsiteX4" fmla="*/ 16254890 w 16292418"/>
              <a:gd name="connsiteY4" fmla="*/ 7870427 h 7981785"/>
              <a:gd name="connsiteX5" fmla="*/ 13804394 w 16292418"/>
              <a:gd name="connsiteY5" fmla="*/ 3527450 h 7981785"/>
              <a:gd name="connsiteX6" fmla="*/ 0 w 16292418"/>
              <a:gd name="connsiteY6" fmla="*/ 14314 h 7981785"/>
              <a:gd name="connsiteX7" fmla="*/ 15787939 w 16292418"/>
              <a:gd name="connsiteY7" fmla="*/ 5657844 h 7981785"/>
              <a:gd name="connsiteX8" fmla="*/ 14528592 w 16292418"/>
              <a:gd name="connsiteY8" fmla="*/ 1732958 h 7981785"/>
              <a:gd name="connsiteX9" fmla="*/ 16261550 w 16292418"/>
              <a:gd name="connsiteY9" fmla="*/ 0 h 7981785"/>
              <a:gd name="connsiteX10" fmla="*/ 14528592 w 16292418"/>
              <a:gd name="connsiteY10" fmla="*/ 1732958 h 7981785"/>
              <a:gd name="connsiteX11" fmla="*/ 3514058 w 16292418"/>
              <a:gd name="connsiteY11" fmla="*/ 1841147 h 7981785"/>
              <a:gd name="connsiteX0" fmla="*/ 4034284 w 16299354"/>
              <a:gd name="connsiteY0" fmla="*/ 1732958 h 7981785"/>
              <a:gd name="connsiteX1" fmla="*/ 14535528 w 16299354"/>
              <a:gd name="connsiteY1" fmla="*/ 1732958 h 7981785"/>
              <a:gd name="connsiteX2" fmla="*/ 15999128 w 16299354"/>
              <a:gd name="connsiteY2" fmla="*/ 7822700 h 7981785"/>
              <a:gd name="connsiteX3" fmla="*/ 13660273 w 16299354"/>
              <a:gd name="connsiteY3" fmla="*/ 3368353 h 7981785"/>
              <a:gd name="connsiteX4" fmla="*/ 4034284 w 16299354"/>
              <a:gd name="connsiteY4" fmla="*/ 1732958 h 7981785"/>
              <a:gd name="connsiteX0" fmla="*/ 14535528 w 16299354"/>
              <a:gd name="connsiteY0" fmla="*/ 1732958 h 7981785"/>
              <a:gd name="connsiteX1" fmla="*/ 16268486 w 16299354"/>
              <a:gd name="connsiteY1" fmla="*/ 0 h 7981785"/>
              <a:gd name="connsiteX2" fmla="*/ 16268486 w 16299354"/>
              <a:gd name="connsiteY2" fmla="*/ 5198873 h 7981785"/>
              <a:gd name="connsiteX3" fmla="*/ 16299354 w 16299354"/>
              <a:gd name="connsiteY3" fmla="*/ 7981785 h 7981785"/>
              <a:gd name="connsiteX4" fmla="*/ 14535528 w 16299354"/>
              <a:gd name="connsiteY4" fmla="*/ 1732958 h 7981785"/>
              <a:gd name="connsiteX0" fmla="*/ 0 w 16299354"/>
              <a:gd name="connsiteY0" fmla="*/ 364837 h 7981785"/>
              <a:gd name="connsiteX1" fmla="*/ 5767242 w 16299354"/>
              <a:gd name="connsiteY1" fmla="*/ 0 h 7981785"/>
              <a:gd name="connsiteX2" fmla="*/ 16268486 w 16299354"/>
              <a:gd name="connsiteY2" fmla="*/ 0 h 7981785"/>
              <a:gd name="connsiteX3" fmla="*/ 14535528 w 16299354"/>
              <a:gd name="connsiteY3" fmla="*/ 1732958 h 7981785"/>
              <a:gd name="connsiteX4" fmla="*/ 0 w 16299354"/>
              <a:gd name="connsiteY4" fmla="*/ 364837 h 7981785"/>
              <a:gd name="connsiteX0" fmla="*/ 6936 w 16299354"/>
              <a:gd name="connsiteY0" fmla="*/ 14314 h 7981785"/>
              <a:gd name="connsiteX1" fmla="*/ 5767242 w 16299354"/>
              <a:gd name="connsiteY1" fmla="*/ 0 h 7981785"/>
              <a:gd name="connsiteX2" fmla="*/ 16268486 w 16299354"/>
              <a:gd name="connsiteY2" fmla="*/ 0 h 7981785"/>
              <a:gd name="connsiteX3" fmla="*/ 16268486 w 16299354"/>
              <a:gd name="connsiteY3" fmla="*/ 5198873 h 7981785"/>
              <a:gd name="connsiteX4" fmla="*/ 16261826 w 16299354"/>
              <a:gd name="connsiteY4" fmla="*/ 7870427 h 7981785"/>
              <a:gd name="connsiteX5" fmla="*/ 13811330 w 16299354"/>
              <a:gd name="connsiteY5" fmla="*/ 3527450 h 7981785"/>
              <a:gd name="connsiteX6" fmla="*/ 6936 w 16299354"/>
              <a:gd name="connsiteY6" fmla="*/ 14314 h 7981785"/>
              <a:gd name="connsiteX7" fmla="*/ 15794875 w 16299354"/>
              <a:gd name="connsiteY7" fmla="*/ 5657844 h 7981785"/>
              <a:gd name="connsiteX8" fmla="*/ 14535528 w 16299354"/>
              <a:gd name="connsiteY8" fmla="*/ 1732958 h 7981785"/>
              <a:gd name="connsiteX9" fmla="*/ 16268486 w 16299354"/>
              <a:gd name="connsiteY9" fmla="*/ 0 h 7981785"/>
              <a:gd name="connsiteX10" fmla="*/ 14535528 w 16299354"/>
              <a:gd name="connsiteY10" fmla="*/ 1732958 h 7981785"/>
              <a:gd name="connsiteX11" fmla="*/ 3520994 w 16299354"/>
              <a:gd name="connsiteY11" fmla="*/ 1841147 h 7981785"/>
              <a:gd name="connsiteX0" fmla="*/ 4059707 w 16324777"/>
              <a:gd name="connsiteY0" fmla="*/ 1732958 h 7981785"/>
              <a:gd name="connsiteX1" fmla="*/ 14560951 w 16324777"/>
              <a:gd name="connsiteY1" fmla="*/ 1732958 h 7981785"/>
              <a:gd name="connsiteX2" fmla="*/ 16024551 w 16324777"/>
              <a:gd name="connsiteY2" fmla="*/ 7822700 h 7981785"/>
              <a:gd name="connsiteX3" fmla="*/ 13685696 w 16324777"/>
              <a:gd name="connsiteY3" fmla="*/ 3368353 h 7981785"/>
              <a:gd name="connsiteX4" fmla="*/ 4059707 w 16324777"/>
              <a:gd name="connsiteY4" fmla="*/ 1732958 h 7981785"/>
              <a:gd name="connsiteX0" fmla="*/ 14560951 w 16324777"/>
              <a:gd name="connsiteY0" fmla="*/ 1732958 h 7981785"/>
              <a:gd name="connsiteX1" fmla="*/ 16293909 w 16324777"/>
              <a:gd name="connsiteY1" fmla="*/ 0 h 7981785"/>
              <a:gd name="connsiteX2" fmla="*/ 16293909 w 16324777"/>
              <a:gd name="connsiteY2" fmla="*/ 5198873 h 7981785"/>
              <a:gd name="connsiteX3" fmla="*/ 16324777 w 16324777"/>
              <a:gd name="connsiteY3" fmla="*/ 7981785 h 7981785"/>
              <a:gd name="connsiteX4" fmla="*/ 14560951 w 16324777"/>
              <a:gd name="connsiteY4" fmla="*/ 1732958 h 7981785"/>
              <a:gd name="connsiteX0" fmla="*/ 25423 w 16324777"/>
              <a:gd name="connsiteY0" fmla="*/ 364837 h 7981785"/>
              <a:gd name="connsiteX1" fmla="*/ 5792665 w 16324777"/>
              <a:gd name="connsiteY1" fmla="*/ 0 h 7981785"/>
              <a:gd name="connsiteX2" fmla="*/ 16293909 w 16324777"/>
              <a:gd name="connsiteY2" fmla="*/ 0 h 7981785"/>
              <a:gd name="connsiteX3" fmla="*/ 14560951 w 16324777"/>
              <a:gd name="connsiteY3" fmla="*/ 1732958 h 7981785"/>
              <a:gd name="connsiteX4" fmla="*/ 25423 w 16324777"/>
              <a:gd name="connsiteY4" fmla="*/ 364837 h 7981785"/>
              <a:gd name="connsiteX0" fmla="*/ 32359 w 16324777"/>
              <a:gd name="connsiteY0" fmla="*/ 14314 h 7981785"/>
              <a:gd name="connsiteX1" fmla="*/ 5792665 w 16324777"/>
              <a:gd name="connsiteY1" fmla="*/ 0 h 7981785"/>
              <a:gd name="connsiteX2" fmla="*/ 16293909 w 16324777"/>
              <a:gd name="connsiteY2" fmla="*/ 0 h 7981785"/>
              <a:gd name="connsiteX3" fmla="*/ 16293909 w 16324777"/>
              <a:gd name="connsiteY3" fmla="*/ 5198873 h 7981785"/>
              <a:gd name="connsiteX4" fmla="*/ 16287249 w 16324777"/>
              <a:gd name="connsiteY4" fmla="*/ 7870427 h 7981785"/>
              <a:gd name="connsiteX5" fmla="*/ 13836753 w 16324777"/>
              <a:gd name="connsiteY5" fmla="*/ 3527450 h 7981785"/>
              <a:gd name="connsiteX6" fmla="*/ 32359 w 16324777"/>
              <a:gd name="connsiteY6" fmla="*/ 14314 h 7981785"/>
              <a:gd name="connsiteX7" fmla="*/ 15820298 w 16324777"/>
              <a:gd name="connsiteY7" fmla="*/ 5657844 h 7981785"/>
              <a:gd name="connsiteX8" fmla="*/ 14560951 w 16324777"/>
              <a:gd name="connsiteY8" fmla="*/ 1732958 h 7981785"/>
              <a:gd name="connsiteX9" fmla="*/ 16293909 w 16324777"/>
              <a:gd name="connsiteY9" fmla="*/ 0 h 7981785"/>
              <a:gd name="connsiteX10" fmla="*/ 14560951 w 16324777"/>
              <a:gd name="connsiteY10" fmla="*/ 1732958 h 7981785"/>
              <a:gd name="connsiteX11" fmla="*/ 0 w 16324777"/>
              <a:gd name="connsiteY11" fmla="*/ 361667 h 7981785"/>
              <a:gd name="connsiteX0" fmla="*/ 0 w 16336882"/>
              <a:gd name="connsiteY0" fmla="*/ 348928 h 7981785"/>
              <a:gd name="connsiteX1" fmla="*/ 14573056 w 16336882"/>
              <a:gd name="connsiteY1" fmla="*/ 1732958 h 7981785"/>
              <a:gd name="connsiteX2" fmla="*/ 16036656 w 16336882"/>
              <a:gd name="connsiteY2" fmla="*/ 7822700 h 7981785"/>
              <a:gd name="connsiteX3" fmla="*/ 13697801 w 16336882"/>
              <a:gd name="connsiteY3" fmla="*/ 3368353 h 7981785"/>
              <a:gd name="connsiteX4" fmla="*/ 0 w 16336882"/>
              <a:gd name="connsiteY4" fmla="*/ 348928 h 7981785"/>
              <a:gd name="connsiteX0" fmla="*/ 14573056 w 16336882"/>
              <a:gd name="connsiteY0" fmla="*/ 1732958 h 7981785"/>
              <a:gd name="connsiteX1" fmla="*/ 16306014 w 16336882"/>
              <a:gd name="connsiteY1" fmla="*/ 0 h 7981785"/>
              <a:gd name="connsiteX2" fmla="*/ 16306014 w 16336882"/>
              <a:gd name="connsiteY2" fmla="*/ 5198873 h 7981785"/>
              <a:gd name="connsiteX3" fmla="*/ 16336882 w 16336882"/>
              <a:gd name="connsiteY3" fmla="*/ 7981785 h 7981785"/>
              <a:gd name="connsiteX4" fmla="*/ 14573056 w 16336882"/>
              <a:gd name="connsiteY4" fmla="*/ 1732958 h 7981785"/>
              <a:gd name="connsiteX0" fmla="*/ 37528 w 16336882"/>
              <a:gd name="connsiteY0" fmla="*/ 364837 h 7981785"/>
              <a:gd name="connsiteX1" fmla="*/ 5804770 w 16336882"/>
              <a:gd name="connsiteY1" fmla="*/ 0 h 7981785"/>
              <a:gd name="connsiteX2" fmla="*/ 16306014 w 16336882"/>
              <a:gd name="connsiteY2" fmla="*/ 0 h 7981785"/>
              <a:gd name="connsiteX3" fmla="*/ 14573056 w 16336882"/>
              <a:gd name="connsiteY3" fmla="*/ 1732958 h 7981785"/>
              <a:gd name="connsiteX4" fmla="*/ 37528 w 16336882"/>
              <a:gd name="connsiteY4" fmla="*/ 364837 h 7981785"/>
              <a:gd name="connsiteX0" fmla="*/ 44464 w 16336882"/>
              <a:gd name="connsiteY0" fmla="*/ 14314 h 7981785"/>
              <a:gd name="connsiteX1" fmla="*/ 5804770 w 16336882"/>
              <a:gd name="connsiteY1" fmla="*/ 0 h 7981785"/>
              <a:gd name="connsiteX2" fmla="*/ 16306014 w 16336882"/>
              <a:gd name="connsiteY2" fmla="*/ 0 h 7981785"/>
              <a:gd name="connsiteX3" fmla="*/ 16306014 w 16336882"/>
              <a:gd name="connsiteY3" fmla="*/ 5198873 h 7981785"/>
              <a:gd name="connsiteX4" fmla="*/ 16299354 w 16336882"/>
              <a:gd name="connsiteY4" fmla="*/ 7870427 h 7981785"/>
              <a:gd name="connsiteX5" fmla="*/ 13848858 w 16336882"/>
              <a:gd name="connsiteY5" fmla="*/ 3527450 h 7981785"/>
              <a:gd name="connsiteX6" fmla="*/ 44464 w 16336882"/>
              <a:gd name="connsiteY6" fmla="*/ 14314 h 7981785"/>
              <a:gd name="connsiteX7" fmla="*/ 15832403 w 16336882"/>
              <a:gd name="connsiteY7" fmla="*/ 5657844 h 7981785"/>
              <a:gd name="connsiteX8" fmla="*/ 14573056 w 16336882"/>
              <a:gd name="connsiteY8" fmla="*/ 1732958 h 7981785"/>
              <a:gd name="connsiteX9" fmla="*/ 16306014 w 16336882"/>
              <a:gd name="connsiteY9" fmla="*/ 0 h 7981785"/>
              <a:gd name="connsiteX10" fmla="*/ 14573056 w 16336882"/>
              <a:gd name="connsiteY10" fmla="*/ 1732958 h 7981785"/>
              <a:gd name="connsiteX11" fmla="*/ 12105 w 16336882"/>
              <a:gd name="connsiteY11" fmla="*/ 361667 h 7981785"/>
              <a:gd name="connsiteX0" fmla="*/ 0 w 16336882"/>
              <a:gd name="connsiteY0" fmla="*/ 348928 h 7981785"/>
              <a:gd name="connsiteX1" fmla="*/ 14573056 w 16336882"/>
              <a:gd name="connsiteY1" fmla="*/ 1732958 h 7981785"/>
              <a:gd name="connsiteX2" fmla="*/ 16036656 w 16336882"/>
              <a:gd name="connsiteY2" fmla="*/ 7822700 h 7981785"/>
              <a:gd name="connsiteX3" fmla="*/ 14073084 w 16336882"/>
              <a:gd name="connsiteY3" fmla="*/ 2366125 h 7981785"/>
              <a:gd name="connsiteX4" fmla="*/ 0 w 16336882"/>
              <a:gd name="connsiteY4" fmla="*/ 348928 h 7981785"/>
              <a:gd name="connsiteX0" fmla="*/ 14573056 w 16336882"/>
              <a:gd name="connsiteY0" fmla="*/ 1732958 h 7981785"/>
              <a:gd name="connsiteX1" fmla="*/ 16306014 w 16336882"/>
              <a:gd name="connsiteY1" fmla="*/ 0 h 7981785"/>
              <a:gd name="connsiteX2" fmla="*/ 16306014 w 16336882"/>
              <a:gd name="connsiteY2" fmla="*/ 5198873 h 7981785"/>
              <a:gd name="connsiteX3" fmla="*/ 16336882 w 16336882"/>
              <a:gd name="connsiteY3" fmla="*/ 7981785 h 7981785"/>
              <a:gd name="connsiteX4" fmla="*/ 14573056 w 16336882"/>
              <a:gd name="connsiteY4" fmla="*/ 1732958 h 7981785"/>
              <a:gd name="connsiteX0" fmla="*/ 37528 w 16336882"/>
              <a:gd name="connsiteY0" fmla="*/ 364837 h 7981785"/>
              <a:gd name="connsiteX1" fmla="*/ 5804770 w 16336882"/>
              <a:gd name="connsiteY1" fmla="*/ 0 h 7981785"/>
              <a:gd name="connsiteX2" fmla="*/ 16306014 w 16336882"/>
              <a:gd name="connsiteY2" fmla="*/ 0 h 7981785"/>
              <a:gd name="connsiteX3" fmla="*/ 14573056 w 16336882"/>
              <a:gd name="connsiteY3" fmla="*/ 1732958 h 7981785"/>
              <a:gd name="connsiteX4" fmla="*/ 37528 w 16336882"/>
              <a:gd name="connsiteY4" fmla="*/ 364837 h 7981785"/>
              <a:gd name="connsiteX0" fmla="*/ 44464 w 16336882"/>
              <a:gd name="connsiteY0" fmla="*/ 14314 h 7981785"/>
              <a:gd name="connsiteX1" fmla="*/ 5804770 w 16336882"/>
              <a:gd name="connsiteY1" fmla="*/ 0 h 7981785"/>
              <a:gd name="connsiteX2" fmla="*/ 16306014 w 16336882"/>
              <a:gd name="connsiteY2" fmla="*/ 0 h 7981785"/>
              <a:gd name="connsiteX3" fmla="*/ 16306014 w 16336882"/>
              <a:gd name="connsiteY3" fmla="*/ 5198873 h 7981785"/>
              <a:gd name="connsiteX4" fmla="*/ 16299354 w 16336882"/>
              <a:gd name="connsiteY4" fmla="*/ 7870427 h 7981785"/>
              <a:gd name="connsiteX5" fmla="*/ 13848858 w 16336882"/>
              <a:gd name="connsiteY5" fmla="*/ 3527450 h 7981785"/>
              <a:gd name="connsiteX6" fmla="*/ 44464 w 16336882"/>
              <a:gd name="connsiteY6" fmla="*/ 14314 h 7981785"/>
              <a:gd name="connsiteX7" fmla="*/ 15832403 w 16336882"/>
              <a:gd name="connsiteY7" fmla="*/ 5657844 h 7981785"/>
              <a:gd name="connsiteX8" fmla="*/ 14573056 w 16336882"/>
              <a:gd name="connsiteY8" fmla="*/ 1732958 h 7981785"/>
              <a:gd name="connsiteX9" fmla="*/ 16306014 w 16336882"/>
              <a:gd name="connsiteY9" fmla="*/ 0 h 7981785"/>
              <a:gd name="connsiteX10" fmla="*/ 14573056 w 16336882"/>
              <a:gd name="connsiteY10" fmla="*/ 1732958 h 7981785"/>
              <a:gd name="connsiteX11" fmla="*/ 12105 w 16336882"/>
              <a:gd name="connsiteY11" fmla="*/ 361667 h 7981785"/>
              <a:gd name="connsiteX0" fmla="*/ 62952 w 16399834"/>
              <a:gd name="connsiteY0" fmla="*/ 348928 h 7981785"/>
              <a:gd name="connsiteX1" fmla="*/ 14636008 w 16399834"/>
              <a:gd name="connsiteY1" fmla="*/ 1732958 h 7981785"/>
              <a:gd name="connsiteX2" fmla="*/ 16099608 w 16399834"/>
              <a:gd name="connsiteY2" fmla="*/ 7822700 h 7981785"/>
              <a:gd name="connsiteX3" fmla="*/ 14136036 w 16399834"/>
              <a:gd name="connsiteY3" fmla="*/ 2366125 h 7981785"/>
              <a:gd name="connsiteX4" fmla="*/ 62952 w 16399834"/>
              <a:gd name="connsiteY4" fmla="*/ 348928 h 7981785"/>
              <a:gd name="connsiteX0" fmla="*/ 14636008 w 16399834"/>
              <a:gd name="connsiteY0" fmla="*/ 1732958 h 7981785"/>
              <a:gd name="connsiteX1" fmla="*/ 16368966 w 16399834"/>
              <a:gd name="connsiteY1" fmla="*/ 0 h 7981785"/>
              <a:gd name="connsiteX2" fmla="*/ 16368966 w 16399834"/>
              <a:gd name="connsiteY2" fmla="*/ 5198873 h 7981785"/>
              <a:gd name="connsiteX3" fmla="*/ 16399834 w 16399834"/>
              <a:gd name="connsiteY3" fmla="*/ 7981785 h 7981785"/>
              <a:gd name="connsiteX4" fmla="*/ 14636008 w 16399834"/>
              <a:gd name="connsiteY4" fmla="*/ 1732958 h 7981785"/>
              <a:gd name="connsiteX0" fmla="*/ 100480 w 16399834"/>
              <a:gd name="connsiteY0" fmla="*/ 364837 h 7981785"/>
              <a:gd name="connsiteX1" fmla="*/ 5867722 w 16399834"/>
              <a:gd name="connsiteY1" fmla="*/ 0 h 7981785"/>
              <a:gd name="connsiteX2" fmla="*/ 16368966 w 16399834"/>
              <a:gd name="connsiteY2" fmla="*/ 0 h 7981785"/>
              <a:gd name="connsiteX3" fmla="*/ 14636008 w 16399834"/>
              <a:gd name="connsiteY3" fmla="*/ 1732958 h 7981785"/>
              <a:gd name="connsiteX4" fmla="*/ 100480 w 16399834"/>
              <a:gd name="connsiteY4" fmla="*/ 364837 h 7981785"/>
              <a:gd name="connsiteX0" fmla="*/ 107416 w 16399834"/>
              <a:gd name="connsiteY0" fmla="*/ 14314 h 7981785"/>
              <a:gd name="connsiteX1" fmla="*/ 5867722 w 16399834"/>
              <a:gd name="connsiteY1" fmla="*/ 0 h 7981785"/>
              <a:gd name="connsiteX2" fmla="*/ 16368966 w 16399834"/>
              <a:gd name="connsiteY2" fmla="*/ 0 h 7981785"/>
              <a:gd name="connsiteX3" fmla="*/ 16368966 w 16399834"/>
              <a:gd name="connsiteY3" fmla="*/ 5198873 h 7981785"/>
              <a:gd name="connsiteX4" fmla="*/ 16362306 w 16399834"/>
              <a:gd name="connsiteY4" fmla="*/ 7870427 h 7981785"/>
              <a:gd name="connsiteX5" fmla="*/ 13911810 w 16399834"/>
              <a:gd name="connsiteY5" fmla="*/ 3527450 h 7981785"/>
              <a:gd name="connsiteX6" fmla="*/ 107416 w 16399834"/>
              <a:gd name="connsiteY6" fmla="*/ 14314 h 7981785"/>
              <a:gd name="connsiteX7" fmla="*/ 15895355 w 16399834"/>
              <a:gd name="connsiteY7" fmla="*/ 5657844 h 7981785"/>
              <a:gd name="connsiteX8" fmla="*/ 14636008 w 16399834"/>
              <a:gd name="connsiteY8" fmla="*/ 1732958 h 7981785"/>
              <a:gd name="connsiteX9" fmla="*/ 16368966 w 16399834"/>
              <a:gd name="connsiteY9" fmla="*/ 0 h 7981785"/>
              <a:gd name="connsiteX10" fmla="*/ 14636008 w 16399834"/>
              <a:gd name="connsiteY10" fmla="*/ 1732958 h 7981785"/>
              <a:gd name="connsiteX11" fmla="*/ 0 w 16399834"/>
              <a:gd name="connsiteY11" fmla="*/ 107133 h 7981785"/>
              <a:gd name="connsiteX0" fmla="*/ 62952 w 16399834"/>
              <a:gd name="connsiteY0" fmla="*/ 348928 h 7981785"/>
              <a:gd name="connsiteX1" fmla="*/ 14636008 w 16399834"/>
              <a:gd name="connsiteY1" fmla="*/ 1732958 h 7981785"/>
              <a:gd name="connsiteX2" fmla="*/ 16099608 w 16399834"/>
              <a:gd name="connsiteY2" fmla="*/ 7822700 h 7981785"/>
              <a:gd name="connsiteX3" fmla="*/ 14136036 w 16399834"/>
              <a:gd name="connsiteY3" fmla="*/ 2366125 h 7981785"/>
              <a:gd name="connsiteX4" fmla="*/ 62952 w 16399834"/>
              <a:gd name="connsiteY4" fmla="*/ 348928 h 7981785"/>
              <a:gd name="connsiteX0" fmla="*/ 14636008 w 16399834"/>
              <a:gd name="connsiteY0" fmla="*/ 1732958 h 7981785"/>
              <a:gd name="connsiteX1" fmla="*/ 16368966 w 16399834"/>
              <a:gd name="connsiteY1" fmla="*/ 0 h 7981785"/>
              <a:gd name="connsiteX2" fmla="*/ 16368966 w 16399834"/>
              <a:gd name="connsiteY2" fmla="*/ 5198873 h 7981785"/>
              <a:gd name="connsiteX3" fmla="*/ 16399834 w 16399834"/>
              <a:gd name="connsiteY3" fmla="*/ 7981785 h 7981785"/>
              <a:gd name="connsiteX4" fmla="*/ 14636008 w 16399834"/>
              <a:gd name="connsiteY4" fmla="*/ 1732958 h 7981785"/>
              <a:gd name="connsiteX0" fmla="*/ 100480 w 16399834"/>
              <a:gd name="connsiteY0" fmla="*/ 364837 h 7981785"/>
              <a:gd name="connsiteX1" fmla="*/ 5867722 w 16399834"/>
              <a:gd name="connsiteY1" fmla="*/ 0 h 7981785"/>
              <a:gd name="connsiteX2" fmla="*/ 16368966 w 16399834"/>
              <a:gd name="connsiteY2" fmla="*/ 0 h 7981785"/>
              <a:gd name="connsiteX3" fmla="*/ 14636008 w 16399834"/>
              <a:gd name="connsiteY3" fmla="*/ 1732958 h 7981785"/>
              <a:gd name="connsiteX4" fmla="*/ 100480 w 16399834"/>
              <a:gd name="connsiteY4" fmla="*/ 364837 h 7981785"/>
              <a:gd name="connsiteX0" fmla="*/ 107416 w 16399834"/>
              <a:gd name="connsiteY0" fmla="*/ 14314 h 7981785"/>
              <a:gd name="connsiteX1" fmla="*/ 5867722 w 16399834"/>
              <a:gd name="connsiteY1" fmla="*/ 0 h 7981785"/>
              <a:gd name="connsiteX2" fmla="*/ 16368966 w 16399834"/>
              <a:gd name="connsiteY2" fmla="*/ 0 h 7981785"/>
              <a:gd name="connsiteX3" fmla="*/ 16368966 w 16399834"/>
              <a:gd name="connsiteY3" fmla="*/ 5198873 h 7981785"/>
              <a:gd name="connsiteX4" fmla="*/ 16362306 w 16399834"/>
              <a:gd name="connsiteY4" fmla="*/ 7870427 h 7981785"/>
              <a:gd name="connsiteX5" fmla="*/ 13911810 w 16399834"/>
              <a:gd name="connsiteY5" fmla="*/ 3527450 h 7981785"/>
              <a:gd name="connsiteX6" fmla="*/ 107416 w 16399834"/>
              <a:gd name="connsiteY6" fmla="*/ 14314 h 7981785"/>
              <a:gd name="connsiteX7" fmla="*/ 15895355 w 16399834"/>
              <a:gd name="connsiteY7" fmla="*/ 5657844 h 7981785"/>
              <a:gd name="connsiteX8" fmla="*/ 14636008 w 16399834"/>
              <a:gd name="connsiteY8" fmla="*/ 1732958 h 7981785"/>
              <a:gd name="connsiteX9" fmla="*/ 16368966 w 16399834"/>
              <a:gd name="connsiteY9" fmla="*/ 0 h 7981785"/>
              <a:gd name="connsiteX10" fmla="*/ 15772757 w 16399834"/>
              <a:gd name="connsiteY10" fmla="*/ 652347 h 7981785"/>
              <a:gd name="connsiteX11" fmla="*/ 0 w 16399834"/>
              <a:gd name="connsiteY11" fmla="*/ 107133 h 7981785"/>
              <a:gd name="connsiteX0" fmla="*/ 62952 w 16399834"/>
              <a:gd name="connsiteY0" fmla="*/ 348928 h 7981785"/>
              <a:gd name="connsiteX1" fmla="*/ 14636008 w 16399834"/>
              <a:gd name="connsiteY1" fmla="*/ 1732958 h 7981785"/>
              <a:gd name="connsiteX2" fmla="*/ 16099608 w 16399834"/>
              <a:gd name="connsiteY2" fmla="*/ 7822700 h 7981785"/>
              <a:gd name="connsiteX3" fmla="*/ 15007543 w 16399834"/>
              <a:gd name="connsiteY3" fmla="*/ 1351006 h 7981785"/>
              <a:gd name="connsiteX4" fmla="*/ 62952 w 16399834"/>
              <a:gd name="connsiteY4" fmla="*/ 348928 h 7981785"/>
              <a:gd name="connsiteX0" fmla="*/ 14636008 w 16399834"/>
              <a:gd name="connsiteY0" fmla="*/ 1732958 h 7981785"/>
              <a:gd name="connsiteX1" fmla="*/ 16368966 w 16399834"/>
              <a:gd name="connsiteY1" fmla="*/ 0 h 7981785"/>
              <a:gd name="connsiteX2" fmla="*/ 16368966 w 16399834"/>
              <a:gd name="connsiteY2" fmla="*/ 5198873 h 7981785"/>
              <a:gd name="connsiteX3" fmla="*/ 16399834 w 16399834"/>
              <a:gd name="connsiteY3" fmla="*/ 7981785 h 7981785"/>
              <a:gd name="connsiteX4" fmla="*/ 14636008 w 16399834"/>
              <a:gd name="connsiteY4" fmla="*/ 1732958 h 7981785"/>
              <a:gd name="connsiteX0" fmla="*/ 100480 w 16399834"/>
              <a:gd name="connsiteY0" fmla="*/ 364837 h 7981785"/>
              <a:gd name="connsiteX1" fmla="*/ 5867722 w 16399834"/>
              <a:gd name="connsiteY1" fmla="*/ 0 h 7981785"/>
              <a:gd name="connsiteX2" fmla="*/ 16368966 w 16399834"/>
              <a:gd name="connsiteY2" fmla="*/ 0 h 7981785"/>
              <a:gd name="connsiteX3" fmla="*/ 14636008 w 16399834"/>
              <a:gd name="connsiteY3" fmla="*/ 1732958 h 7981785"/>
              <a:gd name="connsiteX4" fmla="*/ 100480 w 16399834"/>
              <a:gd name="connsiteY4" fmla="*/ 364837 h 7981785"/>
              <a:gd name="connsiteX0" fmla="*/ 107416 w 16399834"/>
              <a:gd name="connsiteY0" fmla="*/ 14314 h 7981785"/>
              <a:gd name="connsiteX1" fmla="*/ 5867722 w 16399834"/>
              <a:gd name="connsiteY1" fmla="*/ 0 h 7981785"/>
              <a:gd name="connsiteX2" fmla="*/ 16368966 w 16399834"/>
              <a:gd name="connsiteY2" fmla="*/ 0 h 7981785"/>
              <a:gd name="connsiteX3" fmla="*/ 16368966 w 16399834"/>
              <a:gd name="connsiteY3" fmla="*/ 5198873 h 7981785"/>
              <a:gd name="connsiteX4" fmla="*/ 16362306 w 16399834"/>
              <a:gd name="connsiteY4" fmla="*/ 7870427 h 7981785"/>
              <a:gd name="connsiteX5" fmla="*/ 13911810 w 16399834"/>
              <a:gd name="connsiteY5" fmla="*/ 3527450 h 7981785"/>
              <a:gd name="connsiteX6" fmla="*/ 107416 w 16399834"/>
              <a:gd name="connsiteY6" fmla="*/ 14314 h 7981785"/>
              <a:gd name="connsiteX7" fmla="*/ 15895355 w 16399834"/>
              <a:gd name="connsiteY7" fmla="*/ 5657844 h 7981785"/>
              <a:gd name="connsiteX8" fmla="*/ 14636008 w 16399834"/>
              <a:gd name="connsiteY8" fmla="*/ 1732958 h 7981785"/>
              <a:gd name="connsiteX9" fmla="*/ 16368966 w 16399834"/>
              <a:gd name="connsiteY9" fmla="*/ 0 h 7981785"/>
              <a:gd name="connsiteX10" fmla="*/ 15772757 w 16399834"/>
              <a:gd name="connsiteY10" fmla="*/ 652347 h 7981785"/>
              <a:gd name="connsiteX11" fmla="*/ 0 w 16399834"/>
              <a:gd name="connsiteY11" fmla="*/ 107133 h 7981785"/>
              <a:gd name="connsiteX0" fmla="*/ 62952 w 16399834"/>
              <a:gd name="connsiteY0" fmla="*/ 348928 h 7981785"/>
              <a:gd name="connsiteX1" fmla="*/ 14636008 w 16399834"/>
              <a:gd name="connsiteY1" fmla="*/ 1732958 h 7981785"/>
              <a:gd name="connsiteX2" fmla="*/ 16099608 w 16399834"/>
              <a:gd name="connsiteY2" fmla="*/ 7822700 h 7981785"/>
              <a:gd name="connsiteX3" fmla="*/ 15007543 w 16399834"/>
              <a:gd name="connsiteY3" fmla="*/ 1351006 h 7981785"/>
              <a:gd name="connsiteX4" fmla="*/ 62952 w 16399834"/>
              <a:gd name="connsiteY4" fmla="*/ 348928 h 7981785"/>
              <a:gd name="connsiteX0" fmla="*/ 14636008 w 16399834"/>
              <a:gd name="connsiteY0" fmla="*/ 1732958 h 7981785"/>
              <a:gd name="connsiteX1" fmla="*/ 16368966 w 16399834"/>
              <a:gd name="connsiteY1" fmla="*/ 0 h 7981785"/>
              <a:gd name="connsiteX2" fmla="*/ 16368966 w 16399834"/>
              <a:gd name="connsiteY2" fmla="*/ 5198873 h 7981785"/>
              <a:gd name="connsiteX3" fmla="*/ 16399834 w 16399834"/>
              <a:gd name="connsiteY3" fmla="*/ 7981785 h 7981785"/>
              <a:gd name="connsiteX4" fmla="*/ 14636008 w 16399834"/>
              <a:gd name="connsiteY4" fmla="*/ 1732958 h 7981785"/>
              <a:gd name="connsiteX0" fmla="*/ 100480 w 16399834"/>
              <a:gd name="connsiteY0" fmla="*/ 364837 h 7981785"/>
              <a:gd name="connsiteX1" fmla="*/ 5867722 w 16399834"/>
              <a:gd name="connsiteY1" fmla="*/ 0 h 7981785"/>
              <a:gd name="connsiteX2" fmla="*/ 16368966 w 16399834"/>
              <a:gd name="connsiteY2" fmla="*/ 0 h 7981785"/>
              <a:gd name="connsiteX3" fmla="*/ 14636008 w 16399834"/>
              <a:gd name="connsiteY3" fmla="*/ 1732958 h 7981785"/>
              <a:gd name="connsiteX4" fmla="*/ 100480 w 16399834"/>
              <a:gd name="connsiteY4" fmla="*/ 364837 h 7981785"/>
              <a:gd name="connsiteX0" fmla="*/ 107416 w 16399834"/>
              <a:gd name="connsiteY0" fmla="*/ 14314 h 7981785"/>
              <a:gd name="connsiteX1" fmla="*/ 5867722 w 16399834"/>
              <a:gd name="connsiteY1" fmla="*/ 0 h 7981785"/>
              <a:gd name="connsiteX2" fmla="*/ 16368966 w 16399834"/>
              <a:gd name="connsiteY2" fmla="*/ 0 h 7981785"/>
              <a:gd name="connsiteX3" fmla="*/ 16368966 w 16399834"/>
              <a:gd name="connsiteY3" fmla="*/ 5198873 h 7981785"/>
              <a:gd name="connsiteX4" fmla="*/ 16362306 w 16399834"/>
              <a:gd name="connsiteY4" fmla="*/ 7870427 h 7981785"/>
              <a:gd name="connsiteX5" fmla="*/ 13911810 w 16399834"/>
              <a:gd name="connsiteY5" fmla="*/ 3527450 h 7981785"/>
              <a:gd name="connsiteX6" fmla="*/ 107416 w 16399834"/>
              <a:gd name="connsiteY6" fmla="*/ 14314 h 7981785"/>
              <a:gd name="connsiteX7" fmla="*/ 16369000 w 16399834"/>
              <a:gd name="connsiteY7" fmla="*/ 7900930 h 7981785"/>
              <a:gd name="connsiteX8" fmla="*/ 14636008 w 16399834"/>
              <a:gd name="connsiteY8" fmla="*/ 1732958 h 7981785"/>
              <a:gd name="connsiteX9" fmla="*/ 16368966 w 16399834"/>
              <a:gd name="connsiteY9" fmla="*/ 0 h 7981785"/>
              <a:gd name="connsiteX10" fmla="*/ 15772757 w 16399834"/>
              <a:gd name="connsiteY10" fmla="*/ 652347 h 7981785"/>
              <a:gd name="connsiteX11" fmla="*/ 0 w 16399834"/>
              <a:gd name="connsiteY11" fmla="*/ 107133 h 7981785"/>
              <a:gd name="connsiteX0" fmla="*/ 62952 w 16399834"/>
              <a:gd name="connsiteY0" fmla="*/ 348928 h 7981785"/>
              <a:gd name="connsiteX1" fmla="*/ 14636008 w 16399834"/>
              <a:gd name="connsiteY1" fmla="*/ 1732958 h 7981785"/>
              <a:gd name="connsiteX2" fmla="*/ 16099608 w 16399834"/>
              <a:gd name="connsiteY2" fmla="*/ 7822700 h 7981785"/>
              <a:gd name="connsiteX3" fmla="*/ 15007543 w 16399834"/>
              <a:gd name="connsiteY3" fmla="*/ 1351006 h 7981785"/>
              <a:gd name="connsiteX4" fmla="*/ 62952 w 16399834"/>
              <a:gd name="connsiteY4" fmla="*/ 348928 h 7981785"/>
              <a:gd name="connsiteX0" fmla="*/ 14636008 w 16399834"/>
              <a:gd name="connsiteY0" fmla="*/ 1732958 h 7981785"/>
              <a:gd name="connsiteX1" fmla="*/ 16368966 w 16399834"/>
              <a:gd name="connsiteY1" fmla="*/ 0 h 7981785"/>
              <a:gd name="connsiteX2" fmla="*/ 16368966 w 16399834"/>
              <a:gd name="connsiteY2" fmla="*/ 5198873 h 7981785"/>
              <a:gd name="connsiteX3" fmla="*/ 16399834 w 16399834"/>
              <a:gd name="connsiteY3" fmla="*/ 7981785 h 7981785"/>
              <a:gd name="connsiteX4" fmla="*/ 14636008 w 16399834"/>
              <a:gd name="connsiteY4" fmla="*/ 1732958 h 7981785"/>
              <a:gd name="connsiteX0" fmla="*/ 100480 w 16399834"/>
              <a:gd name="connsiteY0" fmla="*/ 364837 h 7981785"/>
              <a:gd name="connsiteX1" fmla="*/ 5867722 w 16399834"/>
              <a:gd name="connsiteY1" fmla="*/ 0 h 7981785"/>
              <a:gd name="connsiteX2" fmla="*/ 16368966 w 16399834"/>
              <a:gd name="connsiteY2" fmla="*/ 0 h 7981785"/>
              <a:gd name="connsiteX3" fmla="*/ 14636008 w 16399834"/>
              <a:gd name="connsiteY3" fmla="*/ 1732958 h 7981785"/>
              <a:gd name="connsiteX4" fmla="*/ 100480 w 16399834"/>
              <a:gd name="connsiteY4" fmla="*/ 364837 h 7981785"/>
              <a:gd name="connsiteX0" fmla="*/ 107416 w 16399834"/>
              <a:gd name="connsiteY0" fmla="*/ 14314 h 7981785"/>
              <a:gd name="connsiteX1" fmla="*/ 5867722 w 16399834"/>
              <a:gd name="connsiteY1" fmla="*/ 0 h 7981785"/>
              <a:gd name="connsiteX2" fmla="*/ 16368966 w 16399834"/>
              <a:gd name="connsiteY2" fmla="*/ 0 h 7981785"/>
              <a:gd name="connsiteX3" fmla="*/ 16368966 w 16399834"/>
              <a:gd name="connsiteY3" fmla="*/ 5198873 h 7981785"/>
              <a:gd name="connsiteX4" fmla="*/ 16362306 w 16399834"/>
              <a:gd name="connsiteY4" fmla="*/ 7870427 h 7981785"/>
              <a:gd name="connsiteX5" fmla="*/ 13911810 w 16399834"/>
              <a:gd name="connsiteY5" fmla="*/ 3527450 h 7981785"/>
              <a:gd name="connsiteX6" fmla="*/ 107416 w 16399834"/>
              <a:gd name="connsiteY6" fmla="*/ 14314 h 7981785"/>
              <a:gd name="connsiteX7" fmla="*/ 16369000 w 16399834"/>
              <a:gd name="connsiteY7" fmla="*/ 7900930 h 7981785"/>
              <a:gd name="connsiteX8" fmla="*/ 14920195 w 16399834"/>
              <a:gd name="connsiteY8" fmla="*/ 1421874 h 7981785"/>
              <a:gd name="connsiteX9" fmla="*/ 16368966 w 16399834"/>
              <a:gd name="connsiteY9" fmla="*/ 0 h 7981785"/>
              <a:gd name="connsiteX10" fmla="*/ 15772757 w 16399834"/>
              <a:gd name="connsiteY10" fmla="*/ 652347 h 7981785"/>
              <a:gd name="connsiteX11" fmla="*/ 0 w 16399834"/>
              <a:gd name="connsiteY11" fmla="*/ 107133 h 7981785"/>
              <a:gd name="connsiteX0" fmla="*/ 62952 w 16399834"/>
              <a:gd name="connsiteY0" fmla="*/ 348928 h 7981785"/>
              <a:gd name="connsiteX1" fmla="*/ 14636008 w 16399834"/>
              <a:gd name="connsiteY1" fmla="*/ 1732958 h 7981785"/>
              <a:gd name="connsiteX2" fmla="*/ 16099608 w 16399834"/>
              <a:gd name="connsiteY2" fmla="*/ 7822700 h 7981785"/>
              <a:gd name="connsiteX3" fmla="*/ 15007543 w 16399834"/>
              <a:gd name="connsiteY3" fmla="*/ 1351006 h 7981785"/>
              <a:gd name="connsiteX4" fmla="*/ 62952 w 16399834"/>
              <a:gd name="connsiteY4" fmla="*/ 348928 h 7981785"/>
              <a:gd name="connsiteX0" fmla="*/ 14636008 w 16399834"/>
              <a:gd name="connsiteY0" fmla="*/ 1732958 h 7981785"/>
              <a:gd name="connsiteX1" fmla="*/ 16368966 w 16399834"/>
              <a:gd name="connsiteY1" fmla="*/ 0 h 7981785"/>
              <a:gd name="connsiteX2" fmla="*/ 16368966 w 16399834"/>
              <a:gd name="connsiteY2" fmla="*/ 5198873 h 7981785"/>
              <a:gd name="connsiteX3" fmla="*/ 16399834 w 16399834"/>
              <a:gd name="connsiteY3" fmla="*/ 7981785 h 7981785"/>
              <a:gd name="connsiteX4" fmla="*/ 14636008 w 16399834"/>
              <a:gd name="connsiteY4" fmla="*/ 1732958 h 7981785"/>
              <a:gd name="connsiteX0" fmla="*/ 100480 w 16399834"/>
              <a:gd name="connsiteY0" fmla="*/ 364837 h 7981785"/>
              <a:gd name="connsiteX1" fmla="*/ 5867722 w 16399834"/>
              <a:gd name="connsiteY1" fmla="*/ 0 h 7981785"/>
              <a:gd name="connsiteX2" fmla="*/ 16368966 w 16399834"/>
              <a:gd name="connsiteY2" fmla="*/ 0 h 7981785"/>
              <a:gd name="connsiteX3" fmla="*/ 14636008 w 16399834"/>
              <a:gd name="connsiteY3" fmla="*/ 1732958 h 7981785"/>
              <a:gd name="connsiteX4" fmla="*/ 100480 w 16399834"/>
              <a:gd name="connsiteY4" fmla="*/ 364837 h 7981785"/>
              <a:gd name="connsiteX0" fmla="*/ 107416 w 16399834"/>
              <a:gd name="connsiteY0" fmla="*/ 14314 h 7981785"/>
              <a:gd name="connsiteX1" fmla="*/ 5867722 w 16399834"/>
              <a:gd name="connsiteY1" fmla="*/ 0 h 7981785"/>
              <a:gd name="connsiteX2" fmla="*/ 16368966 w 16399834"/>
              <a:gd name="connsiteY2" fmla="*/ 0 h 7981785"/>
              <a:gd name="connsiteX3" fmla="*/ 16368966 w 16399834"/>
              <a:gd name="connsiteY3" fmla="*/ 5198873 h 7981785"/>
              <a:gd name="connsiteX4" fmla="*/ 16362306 w 16399834"/>
              <a:gd name="connsiteY4" fmla="*/ 7870427 h 7981785"/>
              <a:gd name="connsiteX5" fmla="*/ 14991723 w 16399834"/>
              <a:gd name="connsiteY5" fmla="*/ 1333483 h 7981785"/>
              <a:gd name="connsiteX6" fmla="*/ 107416 w 16399834"/>
              <a:gd name="connsiteY6" fmla="*/ 14314 h 7981785"/>
              <a:gd name="connsiteX7" fmla="*/ 16369000 w 16399834"/>
              <a:gd name="connsiteY7" fmla="*/ 7900930 h 7981785"/>
              <a:gd name="connsiteX8" fmla="*/ 14920195 w 16399834"/>
              <a:gd name="connsiteY8" fmla="*/ 1421874 h 7981785"/>
              <a:gd name="connsiteX9" fmla="*/ 16368966 w 16399834"/>
              <a:gd name="connsiteY9" fmla="*/ 0 h 7981785"/>
              <a:gd name="connsiteX10" fmla="*/ 15772757 w 16399834"/>
              <a:gd name="connsiteY10" fmla="*/ 652347 h 7981785"/>
              <a:gd name="connsiteX11" fmla="*/ 0 w 16399834"/>
              <a:gd name="connsiteY11" fmla="*/ 107133 h 7981785"/>
              <a:gd name="connsiteX0" fmla="*/ 62952 w 16399834"/>
              <a:gd name="connsiteY0" fmla="*/ 348928 h 7981785"/>
              <a:gd name="connsiteX1" fmla="*/ 14636008 w 16399834"/>
              <a:gd name="connsiteY1" fmla="*/ 1732958 h 7981785"/>
              <a:gd name="connsiteX2" fmla="*/ 16099608 w 16399834"/>
              <a:gd name="connsiteY2" fmla="*/ 7822700 h 7981785"/>
              <a:gd name="connsiteX3" fmla="*/ 15007543 w 16399834"/>
              <a:gd name="connsiteY3" fmla="*/ 1351006 h 7981785"/>
              <a:gd name="connsiteX4" fmla="*/ 62952 w 16399834"/>
              <a:gd name="connsiteY4" fmla="*/ 348928 h 7981785"/>
              <a:gd name="connsiteX0" fmla="*/ 14636008 w 16399834"/>
              <a:gd name="connsiteY0" fmla="*/ 1732958 h 7981785"/>
              <a:gd name="connsiteX1" fmla="*/ 16368966 w 16399834"/>
              <a:gd name="connsiteY1" fmla="*/ 0 h 7981785"/>
              <a:gd name="connsiteX2" fmla="*/ 16368966 w 16399834"/>
              <a:gd name="connsiteY2" fmla="*/ 5198873 h 7981785"/>
              <a:gd name="connsiteX3" fmla="*/ 16399834 w 16399834"/>
              <a:gd name="connsiteY3" fmla="*/ 7981785 h 7981785"/>
              <a:gd name="connsiteX4" fmla="*/ 14636008 w 16399834"/>
              <a:gd name="connsiteY4" fmla="*/ 1732958 h 7981785"/>
              <a:gd name="connsiteX0" fmla="*/ 100480 w 16399834"/>
              <a:gd name="connsiteY0" fmla="*/ 364837 h 7981785"/>
              <a:gd name="connsiteX1" fmla="*/ 164194 w 16399834"/>
              <a:gd name="connsiteY1" fmla="*/ 24560 h 7981785"/>
              <a:gd name="connsiteX2" fmla="*/ 5867722 w 16399834"/>
              <a:gd name="connsiteY2" fmla="*/ 0 h 7981785"/>
              <a:gd name="connsiteX3" fmla="*/ 16368966 w 16399834"/>
              <a:gd name="connsiteY3" fmla="*/ 0 h 7981785"/>
              <a:gd name="connsiteX4" fmla="*/ 14636008 w 16399834"/>
              <a:gd name="connsiteY4" fmla="*/ 1732958 h 7981785"/>
              <a:gd name="connsiteX5" fmla="*/ 100480 w 16399834"/>
              <a:gd name="connsiteY5" fmla="*/ 364837 h 7981785"/>
              <a:gd name="connsiteX0" fmla="*/ 107416 w 16399834"/>
              <a:gd name="connsiteY0" fmla="*/ 14314 h 7981785"/>
              <a:gd name="connsiteX1" fmla="*/ 5867722 w 16399834"/>
              <a:gd name="connsiteY1" fmla="*/ 0 h 7981785"/>
              <a:gd name="connsiteX2" fmla="*/ 16368966 w 16399834"/>
              <a:gd name="connsiteY2" fmla="*/ 0 h 7981785"/>
              <a:gd name="connsiteX3" fmla="*/ 16368966 w 16399834"/>
              <a:gd name="connsiteY3" fmla="*/ 5198873 h 7981785"/>
              <a:gd name="connsiteX4" fmla="*/ 16362306 w 16399834"/>
              <a:gd name="connsiteY4" fmla="*/ 7870427 h 7981785"/>
              <a:gd name="connsiteX5" fmla="*/ 14991723 w 16399834"/>
              <a:gd name="connsiteY5" fmla="*/ 1333483 h 7981785"/>
              <a:gd name="connsiteX6" fmla="*/ 107416 w 16399834"/>
              <a:gd name="connsiteY6" fmla="*/ 14314 h 7981785"/>
              <a:gd name="connsiteX7" fmla="*/ 16369000 w 16399834"/>
              <a:gd name="connsiteY7" fmla="*/ 7900930 h 7981785"/>
              <a:gd name="connsiteX8" fmla="*/ 14920195 w 16399834"/>
              <a:gd name="connsiteY8" fmla="*/ 1421874 h 7981785"/>
              <a:gd name="connsiteX9" fmla="*/ 16368966 w 16399834"/>
              <a:gd name="connsiteY9" fmla="*/ 0 h 7981785"/>
              <a:gd name="connsiteX10" fmla="*/ 15772757 w 16399834"/>
              <a:gd name="connsiteY10" fmla="*/ 652347 h 7981785"/>
              <a:gd name="connsiteX11" fmla="*/ 0 w 16399834"/>
              <a:gd name="connsiteY11" fmla="*/ 107133 h 7981785"/>
              <a:gd name="connsiteX0" fmla="*/ 76148 w 16413030"/>
              <a:gd name="connsiteY0" fmla="*/ 348928 h 7981785"/>
              <a:gd name="connsiteX1" fmla="*/ 14649204 w 16413030"/>
              <a:gd name="connsiteY1" fmla="*/ 1732958 h 7981785"/>
              <a:gd name="connsiteX2" fmla="*/ 16112804 w 16413030"/>
              <a:gd name="connsiteY2" fmla="*/ 7822700 h 7981785"/>
              <a:gd name="connsiteX3" fmla="*/ 15020739 w 16413030"/>
              <a:gd name="connsiteY3" fmla="*/ 1351006 h 7981785"/>
              <a:gd name="connsiteX4" fmla="*/ 76148 w 16413030"/>
              <a:gd name="connsiteY4" fmla="*/ 348928 h 7981785"/>
              <a:gd name="connsiteX0" fmla="*/ 14649204 w 16413030"/>
              <a:gd name="connsiteY0" fmla="*/ 1732958 h 7981785"/>
              <a:gd name="connsiteX1" fmla="*/ 16382162 w 16413030"/>
              <a:gd name="connsiteY1" fmla="*/ 0 h 7981785"/>
              <a:gd name="connsiteX2" fmla="*/ 16382162 w 16413030"/>
              <a:gd name="connsiteY2" fmla="*/ 5198873 h 7981785"/>
              <a:gd name="connsiteX3" fmla="*/ 16413030 w 16413030"/>
              <a:gd name="connsiteY3" fmla="*/ 7981785 h 7981785"/>
              <a:gd name="connsiteX4" fmla="*/ 14649204 w 16413030"/>
              <a:gd name="connsiteY4" fmla="*/ 1732958 h 7981785"/>
              <a:gd name="connsiteX0" fmla="*/ 0 w 16413030"/>
              <a:gd name="connsiteY0" fmla="*/ 70124 h 7981785"/>
              <a:gd name="connsiteX1" fmla="*/ 177390 w 16413030"/>
              <a:gd name="connsiteY1" fmla="*/ 24560 h 7981785"/>
              <a:gd name="connsiteX2" fmla="*/ 5880918 w 16413030"/>
              <a:gd name="connsiteY2" fmla="*/ 0 h 7981785"/>
              <a:gd name="connsiteX3" fmla="*/ 16382162 w 16413030"/>
              <a:gd name="connsiteY3" fmla="*/ 0 h 7981785"/>
              <a:gd name="connsiteX4" fmla="*/ 14649204 w 16413030"/>
              <a:gd name="connsiteY4" fmla="*/ 1732958 h 7981785"/>
              <a:gd name="connsiteX5" fmla="*/ 0 w 16413030"/>
              <a:gd name="connsiteY5" fmla="*/ 70124 h 7981785"/>
              <a:gd name="connsiteX0" fmla="*/ 120612 w 16413030"/>
              <a:gd name="connsiteY0" fmla="*/ 14314 h 7981785"/>
              <a:gd name="connsiteX1" fmla="*/ 5880918 w 16413030"/>
              <a:gd name="connsiteY1" fmla="*/ 0 h 7981785"/>
              <a:gd name="connsiteX2" fmla="*/ 16382162 w 16413030"/>
              <a:gd name="connsiteY2" fmla="*/ 0 h 7981785"/>
              <a:gd name="connsiteX3" fmla="*/ 16382162 w 16413030"/>
              <a:gd name="connsiteY3" fmla="*/ 5198873 h 7981785"/>
              <a:gd name="connsiteX4" fmla="*/ 16375502 w 16413030"/>
              <a:gd name="connsiteY4" fmla="*/ 7870427 h 7981785"/>
              <a:gd name="connsiteX5" fmla="*/ 15004919 w 16413030"/>
              <a:gd name="connsiteY5" fmla="*/ 1333483 h 7981785"/>
              <a:gd name="connsiteX6" fmla="*/ 120612 w 16413030"/>
              <a:gd name="connsiteY6" fmla="*/ 14314 h 7981785"/>
              <a:gd name="connsiteX7" fmla="*/ 16382196 w 16413030"/>
              <a:gd name="connsiteY7" fmla="*/ 7900930 h 7981785"/>
              <a:gd name="connsiteX8" fmla="*/ 14933391 w 16413030"/>
              <a:gd name="connsiteY8" fmla="*/ 1421874 h 7981785"/>
              <a:gd name="connsiteX9" fmla="*/ 16382162 w 16413030"/>
              <a:gd name="connsiteY9" fmla="*/ 0 h 7981785"/>
              <a:gd name="connsiteX10" fmla="*/ 15785953 w 16413030"/>
              <a:gd name="connsiteY10" fmla="*/ 652347 h 7981785"/>
              <a:gd name="connsiteX11" fmla="*/ 13196 w 16413030"/>
              <a:gd name="connsiteY11" fmla="*/ 107133 h 7981785"/>
              <a:gd name="connsiteX0" fmla="*/ 57202 w 16413030"/>
              <a:gd name="connsiteY0" fmla="*/ 234319 h 7981785"/>
              <a:gd name="connsiteX1" fmla="*/ 14649204 w 16413030"/>
              <a:gd name="connsiteY1" fmla="*/ 1732958 h 7981785"/>
              <a:gd name="connsiteX2" fmla="*/ 16112804 w 16413030"/>
              <a:gd name="connsiteY2" fmla="*/ 7822700 h 7981785"/>
              <a:gd name="connsiteX3" fmla="*/ 15020739 w 16413030"/>
              <a:gd name="connsiteY3" fmla="*/ 1351006 h 7981785"/>
              <a:gd name="connsiteX4" fmla="*/ 57202 w 16413030"/>
              <a:gd name="connsiteY4" fmla="*/ 234319 h 7981785"/>
              <a:gd name="connsiteX0" fmla="*/ 14649204 w 16413030"/>
              <a:gd name="connsiteY0" fmla="*/ 1732958 h 7981785"/>
              <a:gd name="connsiteX1" fmla="*/ 16382162 w 16413030"/>
              <a:gd name="connsiteY1" fmla="*/ 0 h 7981785"/>
              <a:gd name="connsiteX2" fmla="*/ 16382162 w 16413030"/>
              <a:gd name="connsiteY2" fmla="*/ 5198873 h 7981785"/>
              <a:gd name="connsiteX3" fmla="*/ 16413030 w 16413030"/>
              <a:gd name="connsiteY3" fmla="*/ 7981785 h 7981785"/>
              <a:gd name="connsiteX4" fmla="*/ 14649204 w 16413030"/>
              <a:gd name="connsiteY4" fmla="*/ 1732958 h 7981785"/>
              <a:gd name="connsiteX0" fmla="*/ 0 w 16413030"/>
              <a:gd name="connsiteY0" fmla="*/ 70124 h 7981785"/>
              <a:gd name="connsiteX1" fmla="*/ 177390 w 16413030"/>
              <a:gd name="connsiteY1" fmla="*/ 24560 h 7981785"/>
              <a:gd name="connsiteX2" fmla="*/ 5880918 w 16413030"/>
              <a:gd name="connsiteY2" fmla="*/ 0 h 7981785"/>
              <a:gd name="connsiteX3" fmla="*/ 16382162 w 16413030"/>
              <a:gd name="connsiteY3" fmla="*/ 0 h 7981785"/>
              <a:gd name="connsiteX4" fmla="*/ 14649204 w 16413030"/>
              <a:gd name="connsiteY4" fmla="*/ 1732958 h 7981785"/>
              <a:gd name="connsiteX5" fmla="*/ 0 w 16413030"/>
              <a:gd name="connsiteY5" fmla="*/ 70124 h 7981785"/>
              <a:gd name="connsiteX0" fmla="*/ 120612 w 16413030"/>
              <a:gd name="connsiteY0" fmla="*/ 14314 h 7981785"/>
              <a:gd name="connsiteX1" fmla="*/ 5880918 w 16413030"/>
              <a:gd name="connsiteY1" fmla="*/ 0 h 7981785"/>
              <a:gd name="connsiteX2" fmla="*/ 16382162 w 16413030"/>
              <a:gd name="connsiteY2" fmla="*/ 0 h 7981785"/>
              <a:gd name="connsiteX3" fmla="*/ 16382162 w 16413030"/>
              <a:gd name="connsiteY3" fmla="*/ 5198873 h 7981785"/>
              <a:gd name="connsiteX4" fmla="*/ 16375502 w 16413030"/>
              <a:gd name="connsiteY4" fmla="*/ 7870427 h 7981785"/>
              <a:gd name="connsiteX5" fmla="*/ 15004919 w 16413030"/>
              <a:gd name="connsiteY5" fmla="*/ 1333483 h 7981785"/>
              <a:gd name="connsiteX6" fmla="*/ 120612 w 16413030"/>
              <a:gd name="connsiteY6" fmla="*/ 14314 h 7981785"/>
              <a:gd name="connsiteX7" fmla="*/ 16382196 w 16413030"/>
              <a:gd name="connsiteY7" fmla="*/ 7900930 h 7981785"/>
              <a:gd name="connsiteX8" fmla="*/ 14933391 w 16413030"/>
              <a:gd name="connsiteY8" fmla="*/ 1421874 h 7981785"/>
              <a:gd name="connsiteX9" fmla="*/ 16382162 w 16413030"/>
              <a:gd name="connsiteY9" fmla="*/ 0 h 7981785"/>
              <a:gd name="connsiteX10" fmla="*/ 15785953 w 16413030"/>
              <a:gd name="connsiteY10" fmla="*/ 652347 h 7981785"/>
              <a:gd name="connsiteX11" fmla="*/ 13196 w 16413030"/>
              <a:gd name="connsiteY11" fmla="*/ 107133 h 7981785"/>
              <a:gd name="connsiteX0" fmla="*/ 57202 w 16413030"/>
              <a:gd name="connsiteY0" fmla="*/ 234319 h 7981785"/>
              <a:gd name="connsiteX1" fmla="*/ 14649204 w 16413030"/>
              <a:gd name="connsiteY1" fmla="*/ 1732958 h 7981785"/>
              <a:gd name="connsiteX2" fmla="*/ 16112804 w 16413030"/>
              <a:gd name="connsiteY2" fmla="*/ 7822700 h 7981785"/>
              <a:gd name="connsiteX3" fmla="*/ 15020739 w 16413030"/>
              <a:gd name="connsiteY3" fmla="*/ 1351006 h 7981785"/>
              <a:gd name="connsiteX4" fmla="*/ 57202 w 16413030"/>
              <a:gd name="connsiteY4" fmla="*/ 234319 h 7981785"/>
              <a:gd name="connsiteX0" fmla="*/ 14649204 w 16413030"/>
              <a:gd name="connsiteY0" fmla="*/ 1732958 h 7981785"/>
              <a:gd name="connsiteX1" fmla="*/ 16382162 w 16413030"/>
              <a:gd name="connsiteY1" fmla="*/ 0 h 7981785"/>
              <a:gd name="connsiteX2" fmla="*/ 16382162 w 16413030"/>
              <a:gd name="connsiteY2" fmla="*/ 5198873 h 7981785"/>
              <a:gd name="connsiteX3" fmla="*/ 16413030 w 16413030"/>
              <a:gd name="connsiteY3" fmla="*/ 7981785 h 7981785"/>
              <a:gd name="connsiteX4" fmla="*/ 14649204 w 16413030"/>
              <a:gd name="connsiteY4" fmla="*/ 1732958 h 7981785"/>
              <a:gd name="connsiteX0" fmla="*/ 0 w 16413030"/>
              <a:gd name="connsiteY0" fmla="*/ 70124 h 7981785"/>
              <a:gd name="connsiteX1" fmla="*/ 177390 w 16413030"/>
              <a:gd name="connsiteY1" fmla="*/ 24560 h 7981785"/>
              <a:gd name="connsiteX2" fmla="*/ 5880918 w 16413030"/>
              <a:gd name="connsiteY2" fmla="*/ 0 h 7981785"/>
              <a:gd name="connsiteX3" fmla="*/ 16382162 w 16413030"/>
              <a:gd name="connsiteY3" fmla="*/ 0 h 7981785"/>
              <a:gd name="connsiteX4" fmla="*/ 14649204 w 16413030"/>
              <a:gd name="connsiteY4" fmla="*/ 1732958 h 7981785"/>
              <a:gd name="connsiteX5" fmla="*/ 0 w 16413030"/>
              <a:gd name="connsiteY5" fmla="*/ 70124 h 7981785"/>
              <a:gd name="connsiteX0" fmla="*/ 120612 w 16413030"/>
              <a:gd name="connsiteY0" fmla="*/ 14314 h 7981785"/>
              <a:gd name="connsiteX1" fmla="*/ 5880918 w 16413030"/>
              <a:gd name="connsiteY1" fmla="*/ 0 h 7981785"/>
              <a:gd name="connsiteX2" fmla="*/ 16382162 w 16413030"/>
              <a:gd name="connsiteY2" fmla="*/ 0 h 7981785"/>
              <a:gd name="connsiteX3" fmla="*/ 16382162 w 16413030"/>
              <a:gd name="connsiteY3" fmla="*/ 5198873 h 7981785"/>
              <a:gd name="connsiteX4" fmla="*/ 16375502 w 16413030"/>
              <a:gd name="connsiteY4" fmla="*/ 7870427 h 7981785"/>
              <a:gd name="connsiteX5" fmla="*/ 15004919 w 16413030"/>
              <a:gd name="connsiteY5" fmla="*/ 1333483 h 7981785"/>
              <a:gd name="connsiteX6" fmla="*/ 120612 w 16413030"/>
              <a:gd name="connsiteY6" fmla="*/ 14314 h 7981785"/>
              <a:gd name="connsiteX7" fmla="*/ 16382196 w 16413030"/>
              <a:gd name="connsiteY7" fmla="*/ 7900930 h 7981785"/>
              <a:gd name="connsiteX8" fmla="*/ 15558603 w 16413030"/>
              <a:gd name="connsiteY8" fmla="*/ 881568 h 7981785"/>
              <a:gd name="connsiteX9" fmla="*/ 16382162 w 16413030"/>
              <a:gd name="connsiteY9" fmla="*/ 0 h 7981785"/>
              <a:gd name="connsiteX10" fmla="*/ 15785953 w 16413030"/>
              <a:gd name="connsiteY10" fmla="*/ 652347 h 7981785"/>
              <a:gd name="connsiteX11" fmla="*/ 13196 w 16413030"/>
              <a:gd name="connsiteY11" fmla="*/ 107133 h 7981785"/>
              <a:gd name="connsiteX0" fmla="*/ 57202 w 16413030"/>
              <a:gd name="connsiteY0" fmla="*/ 234319 h 7981785"/>
              <a:gd name="connsiteX1" fmla="*/ 14649204 w 16413030"/>
              <a:gd name="connsiteY1" fmla="*/ 1732958 h 7981785"/>
              <a:gd name="connsiteX2" fmla="*/ 16112804 w 16413030"/>
              <a:gd name="connsiteY2" fmla="*/ 7822700 h 7981785"/>
              <a:gd name="connsiteX3" fmla="*/ 15020739 w 16413030"/>
              <a:gd name="connsiteY3" fmla="*/ 1351006 h 7981785"/>
              <a:gd name="connsiteX4" fmla="*/ 57202 w 16413030"/>
              <a:gd name="connsiteY4" fmla="*/ 234319 h 7981785"/>
              <a:gd name="connsiteX0" fmla="*/ 14649204 w 16413030"/>
              <a:gd name="connsiteY0" fmla="*/ 1732958 h 7981785"/>
              <a:gd name="connsiteX1" fmla="*/ 16382162 w 16413030"/>
              <a:gd name="connsiteY1" fmla="*/ 0 h 7981785"/>
              <a:gd name="connsiteX2" fmla="*/ 16382162 w 16413030"/>
              <a:gd name="connsiteY2" fmla="*/ 5198873 h 7981785"/>
              <a:gd name="connsiteX3" fmla="*/ 16413030 w 16413030"/>
              <a:gd name="connsiteY3" fmla="*/ 7981785 h 7981785"/>
              <a:gd name="connsiteX4" fmla="*/ 14649204 w 16413030"/>
              <a:gd name="connsiteY4" fmla="*/ 1732958 h 7981785"/>
              <a:gd name="connsiteX0" fmla="*/ 0 w 16413030"/>
              <a:gd name="connsiteY0" fmla="*/ 70124 h 7981785"/>
              <a:gd name="connsiteX1" fmla="*/ 177390 w 16413030"/>
              <a:gd name="connsiteY1" fmla="*/ 24560 h 7981785"/>
              <a:gd name="connsiteX2" fmla="*/ 5880918 w 16413030"/>
              <a:gd name="connsiteY2" fmla="*/ 0 h 7981785"/>
              <a:gd name="connsiteX3" fmla="*/ 16382162 w 16413030"/>
              <a:gd name="connsiteY3" fmla="*/ 0 h 7981785"/>
              <a:gd name="connsiteX4" fmla="*/ 15520712 w 16413030"/>
              <a:gd name="connsiteY4" fmla="*/ 947060 h 7981785"/>
              <a:gd name="connsiteX5" fmla="*/ 0 w 16413030"/>
              <a:gd name="connsiteY5" fmla="*/ 70124 h 7981785"/>
              <a:gd name="connsiteX0" fmla="*/ 120612 w 16413030"/>
              <a:gd name="connsiteY0" fmla="*/ 14314 h 7981785"/>
              <a:gd name="connsiteX1" fmla="*/ 5880918 w 16413030"/>
              <a:gd name="connsiteY1" fmla="*/ 0 h 7981785"/>
              <a:gd name="connsiteX2" fmla="*/ 16382162 w 16413030"/>
              <a:gd name="connsiteY2" fmla="*/ 0 h 7981785"/>
              <a:gd name="connsiteX3" fmla="*/ 16382162 w 16413030"/>
              <a:gd name="connsiteY3" fmla="*/ 5198873 h 7981785"/>
              <a:gd name="connsiteX4" fmla="*/ 16375502 w 16413030"/>
              <a:gd name="connsiteY4" fmla="*/ 7870427 h 7981785"/>
              <a:gd name="connsiteX5" fmla="*/ 15004919 w 16413030"/>
              <a:gd name="connsiteY5" fmla="*/ 1333483 h 7981785"/>
              <a:gd name="connsiteX6" fmla="*/ 120612 w 16413030"/>
              <a:gd name="connsiteY6" fmla="*/ 14314 h 7981785"/>
              <a:gd name="connsiteX7" fmla="*/ 16382196 w 16413030"/>
              <a:gd name="connsiteY7" fmla="*/ 7900930 h 7981785"/>
              <a:gd name="connsiteX8" fmla="*/ 15558603 w 16413030"/>
              <a:gd name="connsiteY8" fmla="*/ 881568 h 7981785"/>
              <a:gd name="connsiteX9" fmla="*/ 16382162 w 16413030"/>
              <a:gd name="connsiteY9" fmla="*/ 0 h 7981785"/>
              <a:gd name="connsiteX10" fmla="*/ 15785953 w 16413030"/>
              <a:gd name="connsiteY10" fmla="*/ 652347 h 7981785"/>
              <a:gd name="connsiteX11" fmla="*/ 13196 w 16413030"/>
              <a:gd name="connsiteY11" fmla="*/ 107133 h 7981785"/>
              <a:gd name="connsiteX0" fmla="*/ 57202 w 16413030"/>
              <a:gd name="connsiteY0" fmla="*/ 234319 h 7981785"/>
              <a:gd name="connsiteX1" fmla="*/ 14649204 w 16413030"/>
              <a:gd name="connsiteY1" fmla="*/ 1732958 h 7981785"/>
              <a:gd name="connsiteX2" fmla="*/ 16112804 w 16413030"/>
              <a:gd name="connsiteY2" fmla="*/ 7822700 h 7981785"/>
              <a:gd name="connsiteX3" fmla="*/ 15020739 w 16413030"/>
              <a:gd name="connsiteY3" fmla="*/ 1351006 h 7981785"/>
              <a:gd name="connsiteX4" fmla="*/ 57202 w 16413030"/>
              <a:gd name="connsiteY4" fmla="*/ 234319 h 7981785"/>
              <a:gd name="connsiteX0" fmla="*/ 15388091 w 16413030"/>
              <a:gd name="connsiteY0" fmla="*/ 1012551 h 7981785"/>
              <a:gd name="connsiteX1" fmla="*/ 16382162 w 16413030"/>
              <a:gd name="connsiteY1" fmla="*/ 0 h 7981785"/>
              <a:gd name="connsiteX2" fmla="*/ 16382162 w 16413030"/>
              <a:gd name="connsiteY2" fmla="*/ 5198873 h 7981785"/>
              <a:gd name="connsiteX3" fmla="*/ 16413030 w 16413030"/>
              <a:gd name="connsiteY3" fmla="*/ 7981785 h 7981785"/>
              <a:gd name="connsiteX4" fmla="*/ 15388091 w 16413030"/>
              <a:gd name="connsiteY4" fmla="*/ 1012551 h 7981785"/>
              <a:gd name="connsiteX0" fmla="*/ 0 w 16413030"/>
              <a:gd name="connsiteY0" fmla="*/ 70124 h 7981785"/>
              <a:gd name="connsiteX1" fmla="*/ 177390 w 16413030"/>
              <a:gd name="connsiteY1" fmla="*/ 24560 h 7981785"/>
              <a:gd name="connsiteX2" fmla="*/ 5880918 w 16413030"/>
              <a:gd name="connsiteY2" fmla="*/ 0 h 7981785"/>
              <a:gd name="connsiteX3" fmla="*/ 16382162 w 16413030"/>
              <a:gd name="connsiteY3" fmla="*/ 0 h 7981785"/>
              <a:gd name="connsiteX4" fmla="*/ 15520712 w 16413030"/>
              <a:gd name="connsiteY4" fmla="*/ 947060 h 7981785"/>
              <a:gd name="connsiteX5" fmla="*/ 0 w 16413030"/>
              <a:gd name="connsiteY5" fmla="*/ 70124 h 7981785"/>
              <a:gd name="connsiteX0" fmla="*/ 120612 w 16413030"/>
              <a:gd name="connsiteY0" fmla="*/ 14314 h 7981785"/>
              <a:gd name="connsiteX1" fmla="*/ 5880918 w 16413030"/>
              <a:gd name="connsiteY1" fmla="*/ 0 h 7981785"/>
              <a:gd name="connsiteX2" fmla="*/ 16382162 w 16413030"/>
              <a:gd name="connsiteY2" fmla="*/ 0 h 7981785"/>
              <a:gd name="connsiteX3" fmla="*/ 16382162 w 16413030"/>
              <a:gd name="connsiteY3" fmla="*/ 5198873 h 7981785"/>
              <a:gd name="connsiteX4" fmla="*/ 16375502 w 16413030"/>
              <a:gd name="connsiteY4" fmla="*/ 7870427 h 7981785"/>
              <a:gd name="connsiteX5" fmla="*/ 15004919 w 16413030"/>
              <a:gd name="connsiteY5" fmla="*/ 1333483 h 7981785"/>
              <a:gd name="connsiteX6" fmla="*/ 120612 w 16413030"/>
              <a:gd name="connsiteY6" fmla="*/ 14314 h 7981785"/>
              <a:gd name="connsiteX7" fmla="*/ 16382196 w 16413030"/>
              <a:gd name="connsiteY7" fmla="*/ 7900930 h 7981785"/>
              <a:gd name="connsiteX8" fmla="*/ 15558603 w 16413030"/>
              <a:gd name="connsiteY8" fmla="*/ 881568 h 7981785"/>
              <a:gd name="connsiteX9" fmla="*/ 16382162 w 16413030"/>
              <a:gd name="connsiteY9" fmla="*/ 0 h 7981785"/>
              <a:gd name="connsiteX10" fmla="*/ 15785953 w 16413030"/>
              <a:gd name="connsiteY10" fmla="*/ 652347 h 7981785"/>
              <a:gd name="connsiteX11" fmla="*/ 13196 w 16413030"/>
              <a:gd name="connsiteY11" fmla="*/ 107133 h 7981785"/>
              <a:gd name="connsiteX0" fmla="*/ 57202 w 16413030"/>
              <a:gd name="connsiteY0" fmla="*/ 234319 h 7981785"/>
              <a:gd name="connsiteX1" fmla="*/ 14649204 w 16413030"/>
              <a:gd name="connsiteY1" fmla="*/ 1732958 h 7981785"/>
              <a:gd name="connsiteX2" fmla="*/ 16112804 w 16413030"/>
              <a:gd name="connsiteY2" fmla="*/ 7822700 h 7981785"/>
              <a:gd name="connsiteX3" fmla="*/ 15020739 w 16413030"/>
              <a:gd name="connsiteY3" fmla="*/ 1351006 h 7981785"/>
              <a:gd name="connsiteX4" fmla="*/ 57202 w 16413030"/>
              <a:gd name="connsiteY4" fmla="*/ 234319 h 7981785"/>
              <a:gd name="connsiteX0" fmla="*/ 15388091 w 16413030"/>
              <a:gd name="connsiteY0" fmla="*/ 1012551 h 7981785"/>
              <a:gd name="connsiteX1" fmla="*/ 16382162 w 16413030"/>
              <a:gd name="connsiteY1" fmla="*/ 0 h 7981785"/>
              <a:gd name="connsiteX2" fmla="*/ 16382162 w 16413030"/>
              <a:gd name="connsiteY2" fmla="*/ 5198873 h 7981785"/>
              <a:gd name="connsiteX3" fmla="*/ 16413030 w 16413030"/>
              <a:gd name="connsiteY3" fmla="*/ 7981785 h 7981785"/>
              <a:gd name="connsiteX4" fmla="*/ 15485610 w 16413030"/>
              <a:gd name="connsiteY4" fmla="*/ 990560 h 7981785"/>
              <a:gd name="connsiteX5" fmla="*/ 15388091 w 16413030"/>
              <a:gd name="connsiteY5" fmla="*/ 1012551 h 7981785"/>
              <a:gd name="connsiteX0" fmla="*/ 0 w 16413030"/>
              <a:gd name="connsiteY0" fmla="*/ 70124 h 7981785"/>
              <a:gd name="connsiteX1" fmla="*/ 177390 w 16413030"/>
              <a:gd name="connsiteY1" fmla="*/ 24560 h 7981785"/>
              <a:gd name="connsiteX2" fmla="*/ 5880918 w 16413030"/>
              <a:gd name="connsiteY2" fmla="*/ 0 h 7981785"/>
              <a:gd name="connsiteX3" fmla="*/ 16382162 w 16413030"/>
              <a:gd name="connsiteY3" fmla="*/ 0 h 7981785"/>
              <a:gd name="connsiteX4" fmla="*/ 15520712 w 16413030"/>
              <a:gd name="connsiteY4" fmla="*/ 947060 h 7981785"/>
              <a:gd name="connsiteX5" fmla="*/ 0 w 16413030"/>
              <a:gd name="connsiteY5" fmla="*/ 70124 h 7981785"/>
              <a:gd name="connsiteX0" fmla="*/ 120612 w 16413030"/>
              <a:gd name="connsiteY0" fmla="*/ 14314 h 7981785"/>
              <a:gd name="connsiteX1" fmla="*/ 5880918 w 16413030"/>
              <a:gd name="connsiteY1" fmla="*/ 0 h 7981785"/>
              <a:gd name="connsiteX2" fmla="*/ 16382162 w 16413030"/>
              <a:gd name="connsiteY2" fmla="*/ 0 h 7981785"/>
              <a:gd name="connsiteX3" fmla="*/ 16382162 w 16413030"/>
              <a:gd name="connsiteY3" fmla="*/ 5198873 h 7981785"/>
              <a:gd name="connsiteX4" fmla="*/ 16375502 w 16413030"/>
              <a:gd name="connsiteY4" fmla="*/ 7870427 h 7981785"/>
              <a:gd name="connsiteX5" fmla="*/ 15004919 w 16413030"/>
              <a:gd name="connsiteY5" fmla="*/ 1333483 h 7981785"/>
              <a:gd name="connsiteX6" fmla="*/ 120612 w 16413030"/>
              <a:gd name="connsiteY6" fmla="*/ 14314 h 7981785"/>
              <a:gd name="connsiteX7" fmla="*/ 16382196 w 16413030"/>
              <a:gd name="connsiteY7" fmla="*/ 7900930 h 7981785"/>
              <a:gd name="connsiteX8" fmla="*/ 15558603 w 16413030"/>
              <a:gd name="connsiteY8" fmla="*/ 881568 h 7981785"/>
              <a:gd name="connsiteX9" fmla="*/ 16382162 w 16413030"/>
              <a:gd name="connsiteY9" fmla="*/ 0 h 7981785"/>
              <a:gd name="connsiteX10" fmla="*/ 15785953 w 16413030"/>
              <a:gd name="connsiteY10" fmla="*/ 652347 h 7981785"/>
              <a:gd name="connsiteX11" fmla="*/ 13196 w 16413030"/>
              <a:gd name="connsiteY11" fmla="*/ 107133 h 7981785"/>
              <a:gd name="connsiteX0" fmla="*/ 57202 w 16413030"/>
              <a:gd name="connsiteY0" fmla="*/ 234319 h 7981785"/>
              <a:gd name="connsiteX1" fmla="*/ 14649204 w 16413030"/>
              <a:gd name="connsiteY1" fmla="*/ 1732958 h 7981785"/>
              <a:gd name="connsiteX2" fmla="*/ 16112804 w 16413030"/>
              <a:gd name="connsiteY2" fmla="*/ 7822700 h 7981785"/>
              <a:gd name="connsiteX3" fmla="*/ 15020739 w 16413030"/>
              <a:gd name="connsiteY3" fmla="*/ 1351006 h 7981785"/>
              <a:gd name="connsiteX4" fmla="*/ 57202 w 16413030"/>
              <a:gd name="connsiteY4" fmla="*/ 234319 h 7981785"/>
              <a:gd name="connsiteX0" fmla="*/ 15388091 w 16413030"/>
              <a:gd name="connsiteY0" fmla="*/ 1012551 h 7981785"/>
              <a:gd name="connsiteX1" fmla="*/ 16382162 w 16413030"/>
              <a:gd name="connsiteY1" fmla="*/ 0 h 7981785"/>
              <a:gd name="connsiteX2" fmla="*/ 16382162 w 16413030"/>
              <a:gd name="connsiteY2" fmla="*/ 5198873 h 7981785"/>
              <a:gd name="connsiteX3" fmla="*/ 16413030 w 16413030"/>
              <a:gd name="connsiteY3" fmla="*/ 7981785 h 7981785"/>
              <a:gd name="connsiteX4" fmla="*/ 15485610 w 16413030"/>
              <a:gd name="connsiteY4" fmla="*/ 990560 h 7981785"/>
              <a:gd name="connsiteX5" fmla="*/ 15388091 w 16413030"/>
              <a:gd name="connsiteY5" fmla="*/ 1012551 h 7981785"/>
              <a:gd name="connsiteX0" fmla="*/ 0 w 16413030"/>
              <a:gd name="connsiteY0" fmla="*/ 70124 h 7981785"/>
              <a:gd name="connsiteX1" fmla="*/ 177390 w 16413030"/>
              <a:gd name="connsiteY1" fmla="*/ 24560 h 7981785"/>
              <a:gd name="connsiteX2" fmla="*/ 5880918 w 16413030"/>
              <a:gd name="connsiteY2" fmla="*/ 0 h 7981785"/>
              <a:gd name="connsiteX3" fmla="*/ 16382162 w 16413030"/>
              <a:gd name="connsiteY3" fmla="*/ 0 h 7981785"/>
              <a:gd name="connsiteX4" fmla="*/ 15520712 w 16413030"/>
              <a:gd name="connsiteY4" fmla="*/ 947060 h 7981785"/>
              <a:gd name="connsiteX5" fmla="*/ 0 w 16413030"/>
              <a:gd name="connsiteY5" fmla="*/ 70124 h 7981785"/>
              <a:gd name="connsiteX0" fmla="*/ 120612 w 16413030"/>
              <a:gd name="connsiteY0" fmla="*/ 14314 h 7981785"/>
              <a:gd name="connsiteX1" fmla="*/ 5880918 w 16413030"/>
              <a:gd name="connsiteY1" fmla="*/ 0 h 7981785"/>
              <a:gd name="connsiteX2" fmla="*/ 16382162 w 16413030"/>
              <a:gd name="connsiteY2" fmla="*/ 0 h 7981785"/>
              <a:gd name="connsiteX3" fmla="*/ 16382162 w 16413030"/>
              <a:gd name="connsiteY3" fmla="*/ 5198873 h 7981785"/>
              <a:gd name="connsiteX4" fmla="*/ 16375502 w 16413030"/>
              <a:gd name="connsiteY4" fmla="*/ 7870427 h 7981785"/>
              <a:gd name="connsiteX5" fmla="*/ 15308052 w 16413030"/>
              <a:gd name="connsiteY5" fmla="*/ 1120635 h 7981785"/>
              <a:gd name="connsiteX6" fmla="*/ 120612 w 16413030"/>
              <a:gd name="connsiteY6" fmla="*/ 14314 h 7981785"/>
              <a:gd name="connsiteX7" fmla="*/ 16382196 w 16413030"/>
              <a:gd name="connsiteY7" fmla="*/ 7900930 h 7981785"/>
              <a:gd name="connsiteX8" fmla="*/ 15558603 w 16413030"/>
              <a:gd name="connsiteY8" fmla="*/ 881568 h 7981785"/>
              <a:gd name="connsiteX9" fmla="*/ 16382162 w 16413030"/>
              <a:gd name="connsiteY9" fmla="*/ 0 h 7981785"/>
              <a:gd name="connsiteX10" fmla="*/ 15785953 w 16413030"/>
              <a:gd name="connsiteY10" fmla="*/ 652347 h 7981785"/>
              <a:gd name="connsiteX11" fmla="*/ 13196 w 16413030"/>
              <a:gd name="connsiteY11" fmla="*/ 107133 h 7981785"/>
              <a:gd name="connsiteX0" fmla="*/ 57202 w 16413030"/>
              <a:gd name="connsiteY0" fmla="*/ 234319 h 7981785"/>
              <a:gd name="connsiteX1" fmla="*/ 15122849 w 16413030"/>
              <a:gd name="connsiteY1" fmla="*/ 1290891 h 7981785"/>
              <a:gd name="connsiteX2" fmla="*/ 16112804 w 16413030"/>
              <a:gd name="connsiteY2" fmla="*/ 7822700 h 7981785"/>
              <a:gd name="connsiteX3" fmla="*/ 15020739 w 16413030"/>
              <a:gd name="connsiteY3" fmla="*/ 1351006 h 7981785"/>
              <a:gd name="connsiteX4" fmla="*/ 57202 w 16413030"/>
              <a:gd name="connsiteY4" fmla="*/ 234319 h 7981785"/>
              <a:gd name="connsiteX0" fmla="*/ 15388091 w 16413030"/>
              <a:gd name="connsiteY0" fmla="*/ 1012551 h 7981785"/>
              <a:gd name="connsiteX1" fmla="*/ 16382162 w 16413030"/>
              <a:gd name="connsiteY1" fmla="*/ 0 h 7981785"/>
              <a:gd name="connsiteX2" fmla="*/ 16382162 w 16413030"/>
              <a:gd name="connsiteY2" fmla="*/ 5198873 h 7981785"/>
              <a:gd name="connsiteX3" fmla="*/ 16413030 w 16413030"/>
              <a:gd name="connsiteY3" fmla="*/ 7981785 h 7981785"/>
              <a:gd name="connsiteX4" fmla="*/ 15485610 w 16413030"/>
              <a:gd name="connsiteY4" fmla="*/ 990560 h 7981785"/>
              <a:gd name="connsiteX5" fmla="*/ 15388091 w 16413030"/>
              <a:gd name="connsiteY5" fmla="*/ 1012551 h 7981785"/>
              <a:gd name="connsiteX0" fmla="*/ 0 w 16413030"/>
              <a:gd name="connsiteY0" fmla="*/ 70124 h 7981785"/>
              <a:gd name="connsiteX1" fmla="*/ 177390 w 16413030"/>
              <a:gd name="connsiteY1" fmla="*/ 24560 h 7981785"/>
              <a:gd name="connsiteX2" fmla="*/ 5880918 w 16413030"/>
              <a:gd name="connsiteY2" fmla="*/ 0 h 7981785"/>
              <a:gd name="connsiteX3" fmla="*/ 16382162 w 16413030"/>
              <a:gd name="connsiteY3" fmla="*/ 0 h 7981785"/>
              <a:gd name="connsiteX4" fmla="*/ 15520712 w 16413030"/>
              <a:gd name="connsiteY4" fmla="*/ 947060 h 7981785"/>
              <a:gd name="connsiteX5" fmla="*/ 0 w 16413030"/>
              <a:gd name="connsiteY5" fmla="*/ 70124 h 7981785"/>
              <a:gd name="connsiteX0" fmla="*/ 120612 w 16413030"/>
              <a:gd name="connsiteY0" fmla="*/ 14314 h 7981785"/>
              <a:gd name="connsiteX1" fmla="*/ 5880918 w 16413030"/>
              <a:gd name="connsiteY1" fmla="*/ 0 h 7981785"/>
              <a:gd name="connsiteX2" fmla="*/ 16382162 w 16413030"/>
              <a:gd name="connsiteY2" fmla="*/ 0 h 7981785"/>
              <a:gd name="connsiteX3" fmla="*/ 16382162 w 16413030"/>
              <a:gd name="connsiteY3" fmla="*/ 5198873 h 7981785"/>
              <a:gd name="connsiteX4" fmla="*/ 16375502 w 16413030"/>
              <a:gd name="connsiteY4" fmla="*/ 7870427 h 7981785"/>
              <a:gd name="connsiteX5" fmla="*/ 15308052 w 16413030"/>
              <a:gd name="connsiteY5" fmla="*/ 1120635 h 7981785"/>
              <a:gd name="connsiteX6" fmla="*/ 120612 w 16413030"/>
              <a:gd name="connsiteY6" fmla="*/ 14314 h 7981785"/>
              <a:gd name="connsiteX7" fmla="*/ 16382196 w 16413030"/>
              <a:gd name="connsiteY7" fmla="*/ 7900930 h 7981785"/>
              <a:gd name="connsiteX8" fmla="*/ 15558603 w 16413030"/>
              <a:gd name="connsiteY8" fmla="*/ 881568 h 7981785"/>
              <a:gd name="connsiteX9" fmla="*/ 16382162 w 16413030"/>
              <a:gd name="connsiteY9" fmla="*/ 0 h 7981785"/>
              <a:gd name="connsiteX10" fmla="*/ 15785953 w 16413030"/>
              <a:gd name="connsiteY10" fmla="*/ 652347 h 7981785"/>
              <a:gd name="connsiteX11" fmla="*/ 13196 w 16413030"/>
              <a:gd name="connsiteY11" fmla="*/ 107133 h 7981785"/>
              <a:gd name="connsiteX0" fmla="*/ 57202 w 16413030"/>
              <a:gd name="connsiteY0" fmla="*/ 234319 h 7981785"/>
              <a:gd name="connsiteX1" fmla="*/ 15122849 w 16413030"/>
              <a:gd name="connsiteY1" fmla="*/ 1290891 h 7981785"/>
              <a:gd name="connsiteX2" fmla="*/ 16112804 w 16413030"/>
              <a:gd name="connsiteY2" fmla="*/ 7822700 h 7981785"/>
              <a:gd name="connsiteX3" fmla="*/ 15191251 w 16413030"/>
              <a:gd name="connsiteY3" fmla="*/ 1220024 h 7981785"/>
              <a:gd name="connsiteX4" fmla="*/ 57202 w 16413030"/>
              <a:gd name="connsiteY4" fmla="*/ 234319 h 7981785"/>
              <a:gd name="connsiteX0" fmla="*/ 15388091 w 16413030"/>
              <a:gd name="connsiteY0" fmla="*/ 1012551 h 7981785"/>
              <a:gd name="connsiteX1" fmla="*/ 16382162 w 16413030"/>
              <a:gd name="connsiteY1" fmla="*/ 0 h 7981785"/>
              <a:gd name="connsiteX2" fmla="*/ 16382162 w 16413030"/>
              <a:gd name="connsiteY2" fmla="*/ 5198873 h 7981785"/>
              <a:gd name="connsiteX3" fmla="*/ 16413030 w 16413030"/>
              <a:gd name="connsiteY3" fmla="*/ 7981785 h 7981785"/>
              <a:gd name="connsiteX4" fmla="*/ 15485610 w 16413030"/>
              <a:gd name="connsiteY4" fmla="*/ 990560 h 7981785"/>
              <a:gd name="connsiteX5" fmla="*/ 15388091 w 16413030"/>
              <a:gd name="connsiteY5" fmla="*/ 1012551 h 7981785"/>
              <a:gd name="connsiteX0" fmla="*/ 0 w 16413030"/>
              <a:gd name="connsiteY0" fmla="*/ 70124 h 7981785"/>
              <a:gd name="connsiteX1" fmla="*/ 177390 w 16413030"/>
              <a:gd name="connsiteY1" fmla="*/ 24560 h 7981785"/>
              <a:gd name="connsiteX2" fmla="*/ 5880918 w 16413030"/>
              <a:gd name="connsiteY2" fmla="*/ 0 h 7981785"/>
              <a:gd name="connsiteX3" fmla="*/ 16382162 w 16413030"/>
              <a:gd name="connsiteY3" fmla="*/ 0 h 7981785"/>
              <a:gd name="connsiteX4" fmla="*/ 15520712 w 16413030"/>
              <a:gd name="connsiteY4" fmla="*/ 947060 h 7981785"/>
              <a:gd name="connsiteX5" fmla="*/ 0 w 16413030"/>
              <a:gd name="connsiteY5" fmla="*/ 70124 h 7981785"/>
              <a:gd name="connsiteX0" fmla="*/ 120612 w 16413030"/>
              <a:gd name="connsiteY0" fmla="*/ 14314 h 7981785"/>
              <a:gd name="connsiteX1" fmla="*/ 5880918 w 16413030"/>
              <a:gd name="connsiteY1" fmla="*/ 0 h 7981785"/>
              <a:gd name="connsiteX2" fmla="*/ 16382162 w 16413030"/>
              <a:gd name="connsiteY2" fmla="*/ 0 h 7981785"/>
              <a:gd name="connsiteX3" fmla="*/ 16382162 w 16413030"/>
              <a:gd name="connsiteY3" fmla="*/ 5198873 h 7981785"/>
              <a:gd name="connsiteX4" fmla="*/ 16375502 w 16413030"/>
              <a:gd name="connsiteY4" fmla="*/ 7870427 h 7981785"/>
              <a:gd name="connsiteX5" fmla="*/ 15308052 w 16413030"/>
              <a:gd name="connsiteY5" fmla="*/ 1120635 h 7981785"/>
              <a:gd name="connsiteX6" fmla="*/ 120612 w 16413030"/>
              <a:gd name="connsiteY6" fmla="*/ 14314 h 7981785"/>
              <a:gd name="connsiteX7" fmla="*/ 16382196 w 16413030"/>
              <a:gd name="connsiteY7" fmla="*/ 7900930 h 7981785"/>
              <a:gd name="connsiteX8" fmla="*/ 15558603 w 16413030"/>
              <a:gd name="connsiteY8" fmla="*/ 881568 h 7981785"/>
              <a:gd name="connsiteX9" fmla="*/ 16382162 w 16413030"/>
              <a:gd name="connsiteY9" fmla="*/ 0 h 7981785"/>
              <a:gd name="connsiteX10" fmla="*/ 15785953 w 16413030"/>
              <a:gd name="connsiteY10" fmla="*/ 652347 h 7981785"/>
              <a:gd name="connsiteX11" fmla="*/ 13196 w 16413030"/>
              <a:gd name="connsiteY11" fmla="*/ 107133 h 79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413030" h="7981785" stroke="0" extrusionOk="0">
                <a:moveTo>
                  <a:pt x="57202" y="234319"/>
                </a:moveTo>
                <a:lnTo>
                  <a:pt x="15122849" y="1290891"/>
                </a:lnTo>
                <a:lnTo>
                  <a:pt x="16112804" y="7822700"/>
                </a:lnTo>
                <a:lnTo>
                  <a:pt x="15191251" y="1220024"/>
                </a:lnTo>
                <a:lnTo>
                  <a:pt x="57202" y="234319"/>
                </a:lnTo>
                <a:close/>
              </a:path>
              <a:path w="16413030" h="7981785" fill="darkenLess" stroke="0" extrusionOk="0">
                <a:moveTo>
                  <a:pt x="15388091" y="1012551"/>
                </a:moveTo>
                <a:lnTo>
                  <a:pt x="16382162" y="0"/>
                </a:lnTo>
                <a:lnTo>
                  <a:pt x="16382162" y="5198873"/>
                </a:lnTo>
                <a:lnTo>
                  <a:pt x="16413030" y="7981785"/>
                </a:lnTo>
                <a:cubicBezTo>
                  <a:pt x="16072314" y="5695038"/>
                  <a:pt x="15826326" y="3277307"/>
                  <a:pt x="15485610" y="990560"/>
                </a:cubicBezTo>
                <a:lnTo>
                  <a:pt x="15388091" y="1012551"/>
                </a:lnTo>
                <a:close/>
              </a:path>
              <a:path w="16413030" h="7981785" fill="lightenLess" stroke="0" extrusionOk="0">
                <a:moveTo>
                  <a:pt x="0" y="70124"/>
                </a:moveTo>
                <a:cubicBezTo>
                  <a:pt x="128598" y="65851"/>
                  <a:pt x="48792" y="28833"/>
                  <a:pt x="177390" y="24560"/>
                </a:cubicBezTo>
                <a:lnTo>
                  <a:pt x="5880918" y="0"/>
                </a:lnTo>
                <a:lnTo>
                  <a:pt x="16382162" y="0"/>
                </a:lnTo>
                <a:lnTo>
                  <a:pt x="15520712" y="947060"/>
                </a:lnTo>
                <a:lnTo>
                  <a:pt x="0" y="70124"/>
                </a:lnTo>
                <a:close/>
              </a:path>
              <a:path w="16413030" h="7981785" fill="none" extrusionOk="0">
                <a:moveTo>
                  <a:pt x="120612" y="14314"/>
                </a:moveTo>
                <a:lnTo>
                  <a:pt x="5880918" y="0"/>
                </a:lnTo>
                <a:lnTo>
                  <a:pt x="16382162" y="0"/>
                </a:lnTo>
                <a:lnTo>
                  <a:pt x="16382162" y="5198873"/>
                </a:lnTo>
                <a:lnTo>
                  <a:pt x="16375502" y="7870427"/>
                </a:lnTo>
                <a:lnTo>
                  <a:pt x="15308052" y="1120635"/>
                </a:lnTo>
                <a:lnTo>
                  <a:pt x="120612" y="14314"/>
                </a:lnTo>
                <a:close/>
                <a:moveTo>
                  <a:pt x="16382196" y="7900930"/>
                </a:moveTo>
                <a:lnTo>
                  <a:pt x="15558603" y="881568"/>
                </a:lnTo>
                <a:lnTo>
                  <a:pt x="16382162" y="0"/>
                </a:lnTo>
                <a:moveTo>
                  <a:pt x="15785953" y="652347"/>
                </a:moveTo>
                <a:lnTo>
                  <a:pt x="13196" y="107133"/>
                </a:lnTo>
              </a:path>
            </a:pathLst>
          </a:custGeom>
          <a:solidFill>
            <a:srgbClr val="A539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Заголовок 1"/>
          <p:cNvSpPr txBox="1">
            <a:spLocks/>
          </p:cNvSpPr>
          <p:nvPr/>
        </p:nvSpPr>
        <p:spPr>
          <a:xfrm>
            <a:off x="412859" y="99305"/>
            <a:ext cx="10963006" cy="69933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ru-RU" sz="4800" b="1" dirty="0" smtClean="0">
                <a:latin typeface="Times New Roman" panose="02020603050405020304" pitchFamily="18" charset="0"/>
                <a:cs typeface="Times New Roman" panose="02020603050405020304" pitchFamily="18" charset="0"/>
              </a:rPr>
              <a:t>Уход за волосами по типу волос</a:t>
            </a:r>
            <a:r>
              <a:rPr lang="ru-RU" sz="4800" dirty="0" smtClean="0">
                <a:latin typeface="Times New Roman" panose="02020603050405020304" pitchFamily="18" charset="0"/>
                <a:cs typeface="Times New Roman" panose="02020603050405020304" pitchFamily="18" charset="0"/>
              </a:rPr>
              <a:t/>
            </a:r>
            <a:br>
              <a:rPr lang="ru-RU" sz="4800" dirty="0" smtClean="0">
                <a:latin typeface="Times New Roman" panose="02020603050405020304" pitchFamily="18" charset="0"/>
                <a:cs typeface="Times New Roman" panose="02020603050405020304" pitchFamily="18" charset="0"/>
              </a:rPr>
            </a:br>
            <a:endParaRPr lang="ru-RU" sz="4800" dirty="0">
              <a:latin typeface="Times New Roman" panose="02020603050405020304" pitchFamily="18" charset="0"/>
              <a:cs typeface="Times New Roman" panose="02020603050405020304" pitchFamily="18" charset="0"/>
            </a:endParaRPr>
          </a:p>
        </p:txBody>
      </p:sp>
      <p:graphicFrame>
        <p:nvGraphicFramePr>
          <p:cNvPr id="2" name="Таблица 1"/>
          <p:cNvGraphicFramePr>
            <a:graphicFrameLocks noGrp="1"/>
          </p:cNvGraphicFramePr>
          <p:nvPr>
            <p:extLst>
              <p:ext uri="{D42A27DB-BD31-4B8C-83A1-F6EECF244321}">
                <p14:modId xmlns:p14="http://schemas.microsoft.com/office/powerpoint/2010/main" val="2318965392"/>
              </p:ext>
            </p:extLst>
          </p:nvPr>
        </p:nvGraphicFramePr>
        <p:xfrm>
          <a:off x="562811" y="794483"/>
          <a:ext cx="11226019" cy="5461000"/>
        </p:xfrm>
        <a:graphic>
          <a:graphicData uri="http://schemas.openxmlformats.org/drawingml/2006/table">
            <a:tbl>
              <a:tblPr firstRow="1" bandRow="1">
                <a:tableStyleId>{5C22544A-7EE6-4342-B048-85BDC9FD1C3A}</a:tableStyleId>
              </a:tblPr>
              <a:tblGrid>
                <a:gridCol w="1563174"/>
                <a:gridCol w="9662845"/>
              </a:tblGrid>
              <a:tr h="370840">
                <a:tc>
                  <a:txBody>
                    <a:bodyPr/>
                    <a:lstStyle/>
                    <a:p>
                      <a:r>
                        <a:rPr lang="ru-RU" sz="1600" dirty="0" smtClean="0">
                          <a:latin typeface="Times New Roman" panose="02020603050405020304" pitchFamily="18" charset="0"/>
                          <a:cs typeface="Times New Roman" panose="02020603050405020304" pitchFamily="18" charset="0"/>
                        </a:rPr>
                        <a:t>Типы волос</a:t>
                      </a:r>
                      <a:endParaRPr lang="ru-RU" sz="1600" dirty="0">
                        <a:latin typeface="Times New Roman" panose="02020603050405020304" pitchFamily="18" charset="0"/>
                        <a:cs typeface="Times New Roman" panose="02020603050405020304" pitchFamily="18" charset="0"/>
                      </a:endParaRPr>
                    </a:p>
                  </a:txBody>
                  <a:tcPr/>
                </a:tc>
                <a:tc>
                  <a:txBody>
                    <a:bodyPr/>
                    <a:lstStyle/>
                    <a:p>
                      <a:pPr algn="ctr"/>
                      <a:r>
                        <a:rPr lang="ru-RU" sz="1600" dirty="0" smtClean="0">
                          <a:latin typeface="Times New Roman" panose="02020603050405020304" pitchFamily="18" charset="0"/>
                          <a:cs typeface="Times New Roman" panose="02020603050405020304" pitchFamily="18" charset="0"/>
                        </a:rPr>
                        <a:t>Особенности ухода</a:t>
                      </a:r>
                      <a:endParaRPr lang="ru-RU" sz="1600" dirty="0">
                        <a:latin typeface="Times New Roman" panose="02020603050405020304" pitchFamily="18" charset="0"/>
                        <a:cs typeface="Times New Roman" panose="02020603050405020304" pitchFamily="18" charset="0"/>
                      </a:endParaRPr>
                    </a:p>
                  </a:txBody>
                  <a:tcPr/>
                </a:tc>
              </a:tr>
              <a:tr h="370840">
                <a:tc>
                  <a:txBody>
                    <a:bodyPr/>
                    <a:lstStyle/>
                    <a:p>
                      <a:r>
                        <a:rPr lang="ru-RU" sz="1600" dirty="0" smtClean="0">
                          <a:latin typeface="Times New Roman" panose="02020603050405020304" pitchFamily="18" charset="0"/>
                          <a:cs typeface="Times New Roman" panose="02020603050405020304" pitchFamily="18" charset="0"/>
                        </a:rPr>
                        <a:t>Нормальные</a:t>
                      </a:r>
                      <a:endParaRPr lang="ru-RU" sz="1600" dirty="0">
                        <a:latin typeface="Times New Roman" panose="02020603050405020304" pitchFamily="18" charset="0"/>
                        <a:cs typeface="Times New Roman" panose="02020603050405020304" pitchFamily="18"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kern="1200" dirty="0" smtClean="0">
                          <a:solidFill>
                            <a:schemeClr val="dk1"/>
                          </a:solidFill>
                          <a:effectLst/>
                          <a:latin typeface="Times New Roman" panose="02020603050405020304" pitchFamily="18" charset="0"/>
                          <a:ea typeface="+mn-ea"/>
                          <a:cs typeface="Times New Roman" panose="02020603050405020304" pitchFamily="18" charset="0"/>
                        </a:rPr>
                        <a:t>Нормальным (здоровым)</a:t>
                      </a:r>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 по структуре волосам подойдут средства с соответствующей пометкой, а также шампуни и бальзамы, придающие объем.</a:t>
                      </a:r>
                      <a:endParaRPr lang="ru-RU" sz="1600" dirty="0">
                        <a:latin typeface="Times New Roman" panose="02020603050405020304" pitchFamily="18" charset="0"/>
                        <a:cs typeface="Times New Roman" panose="02020603050405020304" pitchFamily="18" charset="0"/>
                      </a:endParaRPr>
                    </a:p>
                  </a:txBody>
                  <a:tcPr/>
                </a:tc>
              </a:tr>
              <a:tr h="370840">
                <a:tc>
                  <a:txBody>
                    <a:bodyPr/>
                    <a:lstStyle/>
                    <a:p>
                      <a:r>
                        <a:rPr lang="ru-RU" sz="1600" dirty="0" smtClean="0">
                          <a:latin typeface="Times New Roman" panose="02020603050405020304" pitchFamily="18" charset="0"/>
                          <a:cs typeface="Times New Roman" panose="02020603050405020304" pitchFamily="18" charset="0"/>
                        </a:rPr>
                        <a:t>Сухие</a:t>
                      </a:r>
                      <a:endParaRPr lang="ru-RU" sz="1600" dirty="0">
                        <a:latin typeface="Times New Roman" panose="02020603050405020304" pitchFamily="18" charset="0"/>
                        <a:cs typeface="Times New Roman" panose="02020603050405020304" pitchFamily="18"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kern="1200" dirty="0" smtClean="0">
                          <a:solidFill>
                            <a:schemeClr val="dk1"/>
                          </a:solidFill>
                          <a:effectLst/>
                          <a:latin typeface="Times New Roman" panose="02020603050405020304" pitchFamily="18" charset="0"/>
                          <a:ea typeface="+mn-ea"/>
                          <a:cs typeface="Times New Roman" panose="02020603050405020304" pitchFamily="18" charset="0"/>
                        </a:rPr>
                        <a:t>Сухие локоны</a:t>
                      </a:r>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 необходимо дополнительно подпитывать, ведь таким волосам не хватает кожного сала. Для сухих прядей рекомендуются средства с дополнительными питательными компонентами и липидами, которые «склеивают» чешуйки локона. Этому типу волос подходят средства с коллагеном и бальзамы на масляной основе. Кстати, локоны после окрашивания, </a:t>
                      </a:r>
                      <a:r>
                        <a:rPr lang="ru-RU" sz="1600" kern="1200" dirty="0" err="1" smtClean="0">
                          <a:solidFill>
                            <a:schemeClr val="dk1"/>
                          </a:solidFill>
                          <a:effectLst/>
                          <a:latin typeface="Times New Roman" panose="02020603050405020304" pitchFamily="18" charset="0"/>
                          <a:ea typeface="+mn-ea"/>
                          <a:cs typeface="Times New Roman" panose="02020603050405020304" pitchFamily="18" charset="0"/>
                        </a:rPr>
                        <a:t>мелирования</a:t>
                      </a:r>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 и химической завивки автоматически переходят в группу сухих. Однако по мере отрастания собственных локонов важно следить, чтобы они не получали избыточного питания.</a:t>
                      </a:r>
                      <a:endParaRPr lang="ru-RU" sz="1600" dirty="0">
                        <a:latin typeface="Times New Roman" panose="02020603050405020304" pitchFamily="18" charset="0"/>
                        <a:cs typeface="Times New Roman" panose="02020603050405020304" pitchFamily="18" charset="0"/>
                      </a:endParaRPr>
                    </a:p>
                  </a:txBody>
                  <a:tcPr/>
                </a:tc>
              </a:tr>
              <a:tr h="370840">
                <a:tc>
                  <a:txBody>
                    <a:bodyPr/>
                    <a:lstStyle/>
                    <a:p>
                      <a:r>
                        <a:rPr lang="ru-RU" sz="1600" dirty="0" smtClean="0">
                          <a:latin typeface="Times New Roman" panose="02020603050405020304" pitchFamily="18" charset="0"/>
                          <a:cs typeface="Times New Roman" panose="02020603050405020304" pitchFamily="18" charset="0"/>
                        </a:rPr>
                        <a:t>Тонкие</a:t>
                      </a:r>
                      <a:endParaRPr lang="ru-RU" sz="1600" dirty="0">
                        <a:latin typeface="Times New Roman" panose="02020603050405020304" pitchFamily="18" charset="0"/>
                        <a:cs typeface="Times New Roman" panose="02020603050405020304" pitchFamily="18"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kern="1200" dirty="0" smtClean="0">
                          <a:solidFill>
                            <a:schemeClr val="dk1"/>
                          </a:solidFill>
                          <a:effectLst/>
                          <a:latin typeface="Times New Roman" panose="02020603050405020304" pitchFamily="18" charset="0"/>
                          <a:ea typeface="+mn-ea"/>
                          <a:cs typeface="Times New Roman" panose="02020603050405020304" pitchFamily="18" charset="0"/>
                        </a:rPr>
                        <a:t>Тонкие волосы</a:t>
                      </a:r>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 по структуре отличаются от нормальных меньшим диаметром стержня. Такие локоны сложно укладывать, они чаще ломаются и секутся, чувствительны к любым внешним воздействиям. При уходе важно дать волосам не только объем, но и питание.</a:t>
                      </a:r>
                      <a:endParaRPr lang="ru-RU" sz="1600" dirty="0">
                        <a:latin typeface="Times New Roman" panose="02020603050405020304" pitchFamily="18" charset="0"/>
                        <a:cs typeface="Times New Roman" panose="02020603050405020304" pitchFamily="18" charset="0"/>
                      </a:endParaRPr>
                    </a:p>
                  </a:txBody>
                  <a:tcPr/>
                </a:tc>
              </a:tr>
              <a:tr h="370840">
                <a:tc>
                  <a:txBody>
                    <a:bodyPr/>
                    <a:lstStyle/>
                    <a:p>
                      <a:r>
                        <a:rPr lang="ru-RU" sz="1600" dirty="0" smtClean="0">
                          <a:latin typeface="Times New Roman" panose="02020603050405020304" pitchFamily="18" charset="0"/>
                          <a:cs typeface="Times New Roman" panose="02020603050405020304" pitchFamily="18" charset="0"/>
                        </a:rPr>
                        <a:t>Жирные</a:t>
                      </a:r>
                      <a:endParaRPr lang="ru-RU" sz="1600" dirty="0">
                        <a:latin typeface="Times New Roman" panose="02020603050405020304" pitchFamily="18" charset="0"/>
                        <a:cs typeface="Times New Roman" panose="02020603050405020304" pitchFamily="18"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kern="1200" dirty="0" smtClean="0">
                          <a:solidFill>
                            <a:schemeClr val="dk1"/>
                          </a:solidFill>
                          <a:effectLst/>
                          <a:latin typeface="Times New Roman" panose="02020603050405020304" pitchFamily="18" charset="0"/>
                          <a:ea typeface="+mn-ea"/>
                          <a:cs typeface="Times New Roman" panose="02020603050405020304" pitchFamily="18" charset="0"/>
                        </a:rPr>
                        <a:t>Жирные волосы</a:t>
                      </a:r>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 выглядят весьма </a:t>
                      </a:r>
                      <a:r>
                        <a:rPr lang="ru-RU" sz="1600" kern="1200" dirty="0" err="1" smtClean="0">
                          <a:solidFill>
                            <a:schemeClr val="dk1"/>
                          </a:solidFill>
                          <a:effectLst/>
                          <a:latin typeface="Times New Roman" panose="02020603050405020304" pitchFamily="18" charset="0"/>
                          <a:ea typeface="+mn-ea"/>
                          <a:cs typeface="Times New Roman" panose="02020603050405020304" pitchFamily="18" charset="0"/>
                        </a:rPr>
                        <a:t>неэстетично</a:t>
                      </a:r>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 однако кожный жир отлично защищает локоны при помощи бактерицидной пленки. При этом повышенная активность сальных желез требует тщательного ухода. Вопреки популярному заблуждению, частое мытье не влияет на здоровье таких волос. Для жирных локонов подходят средства с добавками, замедляющими работу сальных желез.</a:t>
                      </a:r>
                      <a:endParaRPr lang="ru-RU" sz="1600" dirty="0">
                        <a:latin typeface="Times New Roman" panose="02020603050405020304" pitchFamily="18" charset="0"/>
                        <a:cs typeface="Times New Roman" panose="02020603050405020304" pitchFamily="18" charset="0"/>
                      </a:endParaRPr>
                    </a:p>
                  </a:txBody>
                  <a:tcPr/>
                </a:tc>
              </a:tr>
              <a:tr h="370840">
                <a:tc>
                  <a:txBody>
                    <a:bodyPr/>
                    <a:lstStyle/>
                    <a:p>
                      <a:r>
                        <a:rPr lang="ru-RU" sz="1600" dirty="0" smtClean="0">
                          <a:latin typeface="Times New Roman" panose="02020603050405020304" pitchFamily="18" charset="0"/>
                          <a:cs typeface="Times New Roman" panose="02020603050405020304" pitchFamily="18" charset="0"/>
                        </a:rPr>
                        <a:t>Смешанные</a:t>
                      </a:r>
                      <a:endParaRPr lang="ru-RU" sz="1600" dirty="0">
                        <a:latin typeface="Times New Roman" panose="02020603050405020304" pitchFamily="18" charset="0"/>
                        <a:cs typeface="Times New Roman" panose="02020603050405020304" pitchFamily="18"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kern="1200" dirty="0" smtClean="0">
                          <a:solidFill>
                            <a:schemeClr val="dk1"/>
                          </a:solidFill>
                          <a:effectLst/>
                          <a:latin typeface="Times New Roman" panose="02020603050405020304" pitchFamily="18" charset="0"/>
                          <a:ea typeface="+mn-ea"/>
                          <a:cs typeface="Times New Roman" panose="02020603050405020304" pitchFamily="18" charset="0"/>
                        </a:rPr>
                        <a:t>Смешанные волосы</a:t>
                      </a:r>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 жирные у корней и сухие на кончиках также требуют внимательного отношения. Сложные по строению волосы можно мыть мягкими шампунями и ополаскивателями облегченного действия и дополнительно подпитывать кончики локонов, не затрагивая кожу головы.</a:t>
                      </a:r>
                    </a:p>
                    <a:p>
                      <a:endParaRPr lang="ru-RU" sz="1600" dirty="0">
                        <a:latin typeface="Times New Roman" panose="02020603050405020304" pitchFamily="18" charset="0"/>
                        <a:cs typeface="Times New Roman" panose="02020603050405020304" pitchFamily="18" charset="0"/>
                      </a:endParaRPr>
                    </a:p>
                  </a:txBody>
                  <a:tcPr/>
                </a:tc>
              </a:tr>
            </a:tbl>
          </a:graphicData>
        </a:graphic>
      </p:graphicFrame>
    </p:spTree>
    <p:extLst>
      <p:ext uri="{BB962C8B-B14F-4D97-AF65-F5344CB8AC3E}">
        <p14:creationId xmlns:p14="http://schemas.microsoft.com/office/powerpoint/2010/main" val="28468874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vYtTqbzdNWEvagXRU7H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vgZw2iL.2yQ.KwK62gA8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crGeVB2J0.11dNmX_wK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KRBZtSHR3OuSJzhCtKm3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zvYtTqbzdNWEvagXRU7Hew"/>
</p:tagLst>
</file>

<file path=ppt/theme/theme1.xml><?xml version="1.0" encoding="utf-8"?>
<a:theme xmlns:a="http://schemas.openxmlformats.org/drawingml/2006/main" name="Office Theme">
  <a:themeElements>
    <a:clrScheme name="Синий и зеленый">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ustom 8">
      <a:dk1>
        <a:sysClr val="windowText" lastClr="000000"/>
      </a:dk1>
      <a:lt1>
        <a:sysClr val="window" lastClr="FFFFFF"/>
      </a:lt1>
      <a:dk2>
        <a:srgbClr val="44546A"/>
      </a:dk2>
      <a:lt2>
        <a:srgbClr val="E7E6E6"/>
      </a:lt2>
      <a:accent1>
        <a:srgbClr val="52437B"/>
      </a:accent1>
      <a:accent2>
        <a:srgbClr val="FF7A8A"/>
      </a:accent2>
      <a:accent3>
        <a:srgbClr val="FCF594"/>
      </a:accent3>
      <a:accent4>
        <a:srgbClr val="52437B"/>
      </a:accent4>
      <a:accent5>
        <a:srgbClr val="FF7A8A"/>
      </a:accent5>
      <a:accent6>
        <a:srgbClr val="FCF594"/>
      </a:accent6>
      <a:hlink>
        <a:srgbClr val="0563C1"/>
      </a:hlink>
      <a:folHlink>
        <a:srgbClr val="954F72"/>
      </a:folHlink>
    </a:clrScheme>
    <a:fontScheme name="Custom 1">
      <a:majorFont>
        <a:latin typeface="Century Gothic"/>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72</TotalTime>
  <Words>517</Words>
  <Application>Microsoft Office PowerPoint</Application>
  <PresentationFormat>Широкоэкранный</PresentationFormat>
  <Paragraphs>70</Paragraphs>
  <Slides>10</Slides>
  <Notes>5</Notes>
  <HiddenSlides>0</HiddenSlides>
  <MMClips>0</MMClips>
  <ScaleCrop>false</ScaleCrop>
  <HeadingPairs>
    <vt:vector size="8" baseType="variant">
      <vt:variant>
        <vt:lpstr>Использованные шрифты</vt:lpstr>
      </vt:variant>
      <vt:variant>
        <vt:i4>6</vt:i4>
      </vt:variant>
      <vt:variant>
        <vt:lpstr>Тема</vt:lpstr>
      </vt:variant>
      <vt:variant>
        <vt:i4>2</vt:i4>
      </vt:variant>
      <vt:variant>
        <vt:lpstr>Внедренные серверы OLE</vt:lpstr>
      </vt:variant>
      <vt:variant>
        <vt:i4>1</vt:i4>
      </vt:variant>
      <vt:variant>
        <vt:lpstr>Заголовки слайдов</vt:lpstr>
      </vt:variant>
      <vt:variant>
        <vt:i4>10</vt:i4>
      </vt:variant>
    </vt:vector>
  </HeadingPairs>
  <TitlesOfParts>
    <vt:vector size="19" baseType="lpstr">
      <vt:lpstr>Arial</vt:lpstr>
      <vt:lpstr>Calibri</vt:lpstr>
      <vt:lpstr>Century Gothic</vt:lpstr>
      <vt:lpstr>Open Sans</vt:lpstr>
      <vt:lpstr>Segoe UI</vt:lpstr>
      <vt:lpstr>Times New Roman</vt:lpstr>
      <vt:lpstr>Office Theme</vt:lpstr>
      <vt:lpstr>1_Office Theme</vt:lpstr>
      <vt:lpstr>think-cell Slide</vt:lpstr>
      <vt:lpstr>Презентация на тему: «Строение волоса. Фазы роста волос»</vt:lpstr>
      <vt:lpstr>Строение волоса</vt:lpstr>
      <vt:lpstr>Понятие волосяной луковицы </vt:lpstr>
      <vt:lpstr>Презентация PowerPoint</vt:lpstr>
      <vt:lpstr>Презентация PowerPoint</vt:lpstr>
      <vt:lpstr>Как растет волос человека </vt:lpstr>
      <vt:lpstr>Стадии роста волос</vt:lpstr>
      <vt:lpstr>Цвет локонов </vt:lpstr>
      <vt:lpstr>Презентация PowerPoint</vt:lpstr>
      <vt:lpstr>Презентация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EINALD</dc:creator>
  <cp:lastModifiedBy>Пользователь</cp:lastModifiedBy>
  <cp:revision>180</cp:revision>
  <dcterms:created xsi:type="dcterms:W3CDTF">2019-05-28T07:34:16Z</dcterms:created>
  <dcterms:modified xsi:type="dcterms:W3CDTF">2022-06-28T18:12:44Z</dcterms:modified>
</cp:coreProperties>
</file>